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42.xml" ContentType="application/vnd.openxmlformats-officedocument.presentationml.tags+xml"/>
  <Override PartName="/ppt/notesSlides/notesSlide1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2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3.xml" ContentType="application/vnd.openxmlformats-officedocument.presentationml.notesSlid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4.xml" ContentType="application/vnd.openxmlformats-officedocument.presentationml.notesSlide+xml"/>
  <Override PartName="/ppt/tags/tag62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4"/>
    <p:sldMasterId id="2147483666" r:id="rId5"/>
    <p:sldMasterId id="2147483677" r:id="rId6"/>
  </p:sldMasterIdLst>
  <p:notesMasterIdLst>
    <p:notesMasterId r:id="rId13"/>
  </p:notesMasterIdLst>
  <p:handoutMasterIdLst>
    <p:handoutMasterId r:id="rId14"/>
  </p:handoutMasterIdLst>
  <p:sldIdLst>
    <p:sldId id="277" r:id="rId7"/>
    <p:sldId id="11581" r:id="rId8"/>
    <p:sldId id="11582" r:id="rId9"/>
    <p:sldId id="11583" r:id="rId10"/>
    <p:sldId id="1279" r:id="rId11"/>
    <p:sldId id="412" r:id="rId12"/>
  </p:sldIdLst>
  <p:sldSz cx="12192000" cy="6858000"/>
  <p:notesSz cx="6743700" cy="9906000"/>
  <p:custDataLst>
    <p:tags r:id="rId1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66481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32962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99443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65925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332406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98887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65368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731849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chum, Jane CA SPDC-UPC/G/TM" initials="AJCS" lastIdx="3" clrIdx="0">
    <p:extLst>
      <p:ext uri="{19B8F6BF-5375-455C-9EA6-DF929625EA0E}">
        <p15:presenceInfo xmlns:p15="http://schemas.microsoft.com/office/powerpoint/2012/main" userId="S::Jane.Achum@shell.com::0f1ad611-1e80-4f59-aa6d-89c4a756a5e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0065CC"/>
    <a:srgbClr val="808080"/>
    <a:srgbClr val="91AFFF"/>
    <a:srgbClr val="002960"/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5165" autoAdjust="0"/>
  </p:normalViewPr>
  <p:slideViewPr>
    <p:cSldViewPr snapToGrid="0">
      <p:cViewPr varScale="1">
        <p:scale>
          <a:sx n="80" d="100"/>
          <a:sy n="80" d="100"/>
        </p:scale>
        <p:origin x="754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slide" Target="slides/slide4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92113" y="1122363"/>
            <a:ext cx="5965825" cy="335597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391780" y="4756149"/>
            <a:ext cx="5966490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170719" y="9526072"/>
            <a:ext cx="18755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358205" y="11025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9860" indent="-118241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6129" indent="-184649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35707" indent="-127959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53946" indent="-116620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332406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887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5368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1849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/>
          </p:nvPr>
        </p:nvSpPr>
        <p:spPr>
          <a:xfrm>
            <a:off x="392113" y="1122363"/>
            <a:ext cx="5965825" cy="3355975"/>
          </a:xfrm>
        </p:spPr>
      </p:sp>
      <p:sp>
        <p:nvSpPr>
          <p:cNvPr id="10" name="Notes Placeholder 9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47534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3A102B-1A5D-46B6-9B63-13BAF6F65ABB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09628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3A102B-1A5D-46B6-9B63-13BAF6F65ABB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958667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3A102B-1A5D-46B6-9B63-13BAF6F65ABB}" type="slidenum">
              <a:rPr lang="en-GB" smtClean="0"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879363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0963" y="739775"/>
            <a:ext cx="6569075" cy="36957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799493-6412-4470-9830-D005B358D66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utura Medium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13608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Relationship Id="rId4" Type="http://schemas.openxmlformats.org/officeDocument/2006/relationships/image" Target="../media/image4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0914619"/>
              </p:ext>
            </p:extLst>
          </p:nvPr>
        </p:nvGraphicFramePr>
        <p:xfrm>
          <a:off x="2" y="0"/>
          <a:ext cx="21166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211668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/>
        </p:nvSpPr>
        <p:spPr bwMode="auto">
          <a:xfrm>
            <a:off x="12" y="4313786"/>
            <a:ext cx="12191998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17" name="Rectangle 16" descr="&lt;Shell Yellow Bar&gt;" title="&lt;Shell Yellow Bar&gt;"/>
          <p:cNvSpPr/>
          <p:nvPr userDrawn="1"/>
        </p:nvSpPr>
        <p:spPr bwMode="auto">
          <a:xfrm>
            <a:off x="1778011" y="761999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600">
              <a:solidFill>
                <a:schemeClr val="tx1"/>
              </a:solidFill>
            </a:endParaRPr>
          </a:p>
        </p:txBody>
      </p:sp>
      <p:pic>
        <p:nvPicPr>
          <p:cNvPr id="18" name="Picture 17" descr="PECTEN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27001" y="645968"/>
            <a:ext cx="1524000" cy="1524000"/>
          </a:xfrm>
          <a:prstGeom prst="rect">
            <a:avLst/>
          </a:prstGeom>
        </p:spPr>
      </p:pic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1778011" y="3765122"/>
            <a:ext cx="6694610" cy="2155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l" defTabSz="91442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401" baseline="0" noProof="0">
                <a:solidFill>
                  <a:schemeClr val="accent6"/>
                </a:solidFill>
                <a:latin typeface="+mn-lt"/>
              </a:rPr>
              <a:t>Document type | </a:t>
            </a:r>
            <a:r>
              <a:rPr lang="en-US" sz="1401" kern="1200" baseline="0" noProof="0">
                <a:solidFill>
                  <a:schemeClr val="accent6"/>
                </a:solidFill>
                <a:latin typeface="+mn-lt"/>
                <a:ea typeface="+mn-ea"/>
                <a:cs typeface="+mn-cs"/>
              </a:rPr>
              <a:t>Date</a:t>
            </a:r>
            <a:endParaRPr lang="en-US" sz="1401" baseline="0" noProof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1778011" y="1161746"/>
            <a:ext cx="669461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3200" b="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1778011" y="2602007"/>
            <a:ext cx="6694610" cy="215572"/>
          </a:xfrm>
        </p:spPr>
        <p:txBody>
          <a:bodyPr>
            <a:spAutoFit/>
          </a:bodyPr>
          <a:lstStyle>
            <a:lvl1pPr algn="l">
              <a:defRPr sz="1401" cap="all" baseline="0">
                <a:solidFill>
                  <a:schemeClr val="accent6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19" name="doc id"/>
          <p:cNvSpPr>
            <a:spLocks noChangeArrowheads="1"/>
          </p:cNvSpPr>
          <p:nvPr userDrawn="1"/>
        </p:nvSpPr>
        <p:spPr bwMode="auto">
          <a:xfrm>
            <a:off x="11061357" y="37255"/>
            <a:ext cx="894153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49"/>
            <a:endParaRPr lang="en-US" sz="800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44114" y="3556004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sz="1600"/>
            </a:p>
          </p:txBody>
        </p:sp>
        <p:sp>
          <p:nvSpPr>
            <p:cNvPr id="110" name="Rectangle 109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sz="160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2"/>
            <a:ext cx="12194724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endParaRPr lang="en-GB"/>
          </a:p>
        </p:txBody>
      </p:sp>
      <p:sp>
        <p:nvSpPr>
          <p:cNvPr id="106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>
                <a:solidFill>
                  <a:schemeClr val="tx1"/>
                </a:solidFill>
                <a:latin typeface="+mn-lt"/>
                <a:cs typeface="Arial" pitchFamily="34" charset="0"/>
              </a:rPr>
              <a:t>Shell Nigeria</a:t>
            </a: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3" y="4059937"/>
            <a:ext cx="5179739" cy="1047891"/>
          </a:xfrm>
          <a:noFill/>
        </p:spPr>
        <p:txBody>
          <a:bodyPr lIns="0" tIns="0" rIns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3" y="5120642"/>
            <a:ext cx="5179739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1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1" y="5666465"/>
            <a:ext cx="5187732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1" y="5923869"/>
            <a:ext cx="5187732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201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Date Month 2016</a:t>
            </a:r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9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329264241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3058" userDrawn="1">
          <p15:clr>
            <a:srgbClr val="FBAE40"/>
          </p15:clr>
        </p15:guide>
        <p15:guide id="2" orient="horz" pos="2235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2"/>
            <a:ext cx="12194724" cy="6857999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753155" y="3560901"/>
                </a:moveTo>
                <a:lnTo>
                  <a:pt x="763913" y="6359075"/>
                </a:lnTo>
                <a:lnTo>
                  <a:pt x="7622163" y="6355342"/>
                </a:lnTo>
                <a:cubicBezTo>
                  <a:pt x="7618577" y="5510947"/>
                  <a:pt x="7626189" y="4405296"/>
                  <a:pt x="7622603" y="3560901"/>
                </a:cubicBezTo>
                <a:lnTo>
                  <a:pt x="753155" y="3560901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endParaRPr lang="en-GB"/>
          </a:p>
        </p:txBody>
      </p:sp>
      <p:grpSp>
        <p:nvGrpSpPr>
          <p:cNvPr id="2" name="Group 1"/>
          <p:cNvGrpSpPr/>
          <p:nvPr userDrawn="1"/>
        </p:nvGrpSpPr>
        <p:grpSpPr bwMode="gray">
          <a:xfrm>
            <a:off x="744114" y="3556004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sz="1600"/>
            </a:p>
          </p:txBody>
        </p:sp>
        <p:sp>
          <p:nvSpPr>
            <p:cNvPr id="110" name="Rectangle 109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sz="160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106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>
                <a:solidFill>
                  <a:schemeClr val="tx1"/>
                </a:solidFill>
                <a:latin typeface="+mn-lt"/>
                <a:cs typeface="Arial" pitchFamily="34" charset="0"/>
              </a:rPr>
              <a:t>Shell Nigeria</a:t>
            </a: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3" y="4059937"/>
            <a:ext cx="5179739" cy="1047891"/>
          </a:xfrm>
          <a:noFill/>
        </p:spPr>
        <p:txBody>
          <a:bodyPr lIns="0" tIns="0" rIns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3" y="5120642"/>
            <a:ext cx="5179739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1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1" y="5666465"/>
            <a:ext cx="5187732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1" y="5923869"/>
            <a:ext cx="5187732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201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Date Month 2016</a:t>
            </a:r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9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141656028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3058" userDrawn="1">
          <p15:clr>
            <a:srgbClr val="FBAE40"/>
          </p15:clr>
        </p15:guide>
        <p15:guide id="2" orient="horz" pos="2235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3" y="712801"/>
            <a:ext cx="11171237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3" y="1528764"/>
            <a:ext cx="11171237" cy="4830761"/>
          </a:xfrm>
        </p:spPr>
        <p:txBody>
          <a:bodyPr/>
          <a:lstStyle>
            <a:lvl1pPr marL="0" indent="0" defTabSz="357716">
              <a:lnSpc>
                <a:spcPct val="140000"/>
              </a:lnSpc>
              <a:spcBef>
                <a:spcPts val="0"/>
              </a:spcBef>
              <a:defRPr sz="2000"/>
            </a:lvl1pPr>
            <a:lvl2pPr marL="277207" indent="-277207" defTabSz="357716">
              <a:lnSpc>
                <a:spcPct val="140000"/>
              </a:lnSpc>
              <a:spcBef>
                <a:spcPts val="0"/>
              </a:spcBef>
              <a:defRPr sz="2000"/>
            </a:lvl2pPr>
            <a:lvl3pPr marL="522014" indent="-252007" defTabSz="357716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2000"/>
            </a:lvl3pPr>
            <a:lvl4pPr defTabSz="357716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2000"/>
            </a:lvl4pPr>
            <a:lvl5pPr defTabSz="357716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1"/>
            </a:lvl5pPr>
            <a:lvl6pPr defTabSz="357716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401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201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Date Month 2016</a:t>
            </a:r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9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243986044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orient="horz" pos="813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0" y="0"/>
            <a:ext cx="12194382" cy="6858000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482698 w 12194723"/>
              <a:gd name="connsiteY5" fmla="*/ 48285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482698 w 12194723"/>
              <a:gd name="connsiteY9" fmla="*/ 48285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3833 w 12194723"/>
              <a:gd name="connsiteY8" fmla="*/ 5061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96313 w 12194723"/>
              <a:gd name="connsiteY8" fmla="*/ 486123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6332 w 12194723"/>
              <a:gd name="connsiteY8" fmla="*/ 381191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6445 w 12194723"/>
              <a:gd name="connsiteY8" fmla="*/ 558575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61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5396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4 w 12194723"/>
              <a:gd name="connsiteY8" fmla="*/ 5036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508891" y="511425"/>
                </a:moveTo>
                <a:cubicBezTo>
                  <a:pt x="509626" y="566329"/>
                  <a:pt x="510362" y="528366"/>
                  <a:pt x="511097" y="583270"/>
                </a:cubicBezTo>
                <a:lnTo>
                  <a:pt x="1774181" y="585272"/>
                </a:lnTo>
                <a:cubicBezTo>
                  <a:pt x="1771177" y="584735"/>
                  <a:pt x="1784691" y="508891"/>
                  <a:pt x="1769076" y="508490"/>
                </a:cubicBezTo>
                <a:cubicBezTo>
                  <a:pt x="1753461" y="508089"/>
                  <a:pt x="928953" y="510447"/>
                  <a:pt x="508891" y="511425"/>
                </a:cubicBezTo>
                <a:close/>
              </a:path>
            </a:pathLst>
          </a:cu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endParaRPr lang="en-GB"/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3" y="712801"/>
            <a:ext cx="11171237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3" y="1528764"/>
            <a:ext cx="11171237" cy="4830761"/>
          </a:xfrm>
        </p:spPr>
        <p:txBody>
          <a:bodyPr/>
          <a:lstStyle>
            <a:lvl1pPr marL="0" indent="0" defTabSz="357716">
              <a:lnSpc>
                <a:spcPct val="140000"/>
              </a:lnSpc>
              <a:spcBef>
                <a:spcPts val="0"/>
              </a:spcBef>
              <a:defRPr sz="2000"/>
            </a:lvl1pPr>
            <a:lvl2pPr marL="277207" indent="-277207" defTabSz="357716">
              <a:lnSpc>
                <a:spcPct val="140000"/>
              </a:lnSpc>
              <a:spcBef>
                <a:spcPts val="0"/>
              </a:spcBef>
              <a:defRPr sz="2000"/>
            </a:lvl2pPr>
            <a:lvl3pPr marL="522014" indent="-252007" defTabSz="357716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2000"/>
            </a:lvl3pPr>
            <a:lvl4pPr defTabSz="357716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2000"/>
            </a:lvl4pPr>
            <a:lvl5pPr defTabSz="357716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1"/>
            </a:lvl5pPr>
            <a:lvl6pPr defTabSz="357716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401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201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Date Month 2016</a:t>
            </a:r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9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184927196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orient="horz" pos="813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3" y="712801"/>
            <a:ext cx="11171237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3" y="1528763"/>
            <a:ext cx="11171237" cy="4830762"/>
          </a:xfrm>
        </p:spPr>
        <p:txBody>
          <a:bodyPr/>
          <a:lstStyle>
            <a:lvl1pPr marL="0" indent="0" defTabSz="357716">
              <a:lnSpc>
                <a:spcPct val="140000"/>
              </a:lnSpc>
              <a:spcBef>
                <a:spcPts val="0"/>
              </a:spcBef>
              <a:defRPr sz="2000"/>
            </a:lvl1pPr>
            <a:lvl2pPr marL="277207" indent="-277207" defTabSz="357716">
              <a:lnSpc>
                <a:spcPct val="140000"/>
              </a:lnSpc>
              <a:spcBef>
                <a:spcPts val="0"/>
              </a:spcBef>
              <a:defRPr sz="2000"/>
            </a:lvl2pPr>
            <a:lvl3pPr marL="522014" indent="-252007" defTabSz="357716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2000"/>
            </a:lvl3pPr>
            <a:lvl4pPr defTabSz="357716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2000"/>
            </a:lvl4pPr>
            <a:lvl5pPr defTabSz="357716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1"/>
            </a:lvl5pPr>
            <a:lvl6pPr defTabSz="357716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201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Date Month 2016</a:t>
            </a:r>
          </a:p>
        </p:txBody>
      </p:sp>
      <p:sp>
        <p:nvSpPr>
          <p:cNvPr id="1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9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116209981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3" y="712800"/>
            <a:ext cx="11171237" cy="7524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3" y="1528763"/>
            <a:ext cx="11171237" cy="4830762"/>
          </a:xfrm>
        </p:spPr>
        <p:txBody>
          <a:bodyPr/>
          <a:lstStyle>
            <a:lvl1pPr marL="0" indent="0" defTabSz="357716">
              <a:lnSpc>
                <a:spcPct val="140000"/>
              </a:lnSpc>
              <a:spcBef>
                <a:spcPts val="0"/>
              </a:spcBef>
              <a:defRPr sz="1600"/>
            </a:lvl1pPr>
            <a:lvl2pPr marL="215905" indent="-215905" defTabSz="357716">
              <a:lnSpc>
                <a:spcPct val="140000"/>
              </a:lnSpc>
              <a:spcBef>
                <a:spcPts val="0"/>
              </a:spcBef>
              <a:defRPr sz="1600"/>
            </a:lvl2pPr>
            <a:lvl3pPr marL="411173" indent="-195268" defTabSz="357716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3pPr>
            <a:lvl4pPr marL="596916" indent="-185743" defTabSz="357716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4pPr>
            <a:lvl5pPr marL="766781" indent="-155579" defTabSz="357716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tabLst/>
              <a:defRPr sz="1401"/>
            </a:lvl5pPr>
            <a:lvl6pPr marL="914422" indent="-144468" defTabSz="357716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201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Date Month 2016</a:t>
            </a:r>
          </a:p>
        </p:txBody>
      </p:sp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9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2517802801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3" y="712802"/>
            <a:ext cx="11171237" cy="7516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3" y="1528764"/>
            <a:ext cx="5464174" cy="4830761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2000"/>
            </a:lvl1pPr>
            <a:lvl2pPr marL="277207" indent="-277207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2000"/>
            </a:lvl2pPr>
            <a:lvl3pPr marL="522014" indent="-252007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3pPr>
            <a:lvl4pPr marL="756020" indent="-241207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4pPr>
            <a:lvl5pPr marL="964825" indent="-212406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1"/>
            </a:lvl5pPr>
            <a:lvl6pPr marL="1144829" indent="-180004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1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4"/>
            <a:ext cx="5468939" cy="4830763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2000"/>
            </a:lvl1pPr>
            <a:lvl2pPr marL="277207" indent="-277207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2000"/>
            </a:lvl2pPr>
            <a:lvl3pPr marL="522014" indent="-252007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3pPr>
            <a:lvl4pPr marL="756020" indent="-24130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4pPr>
            <a:lvl5pPr marL="964825" indent="-212406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1"/>
            </a:lvl5pPr>
            <a:lvl6pPr marL="1144829" indent="-180004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401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201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Date Month 2016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9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427497091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pos="3765" userDrawn="1">
          <p15:clr>
            <a:srgbClr val="FBAE40"/>
          </p15:clr>
        </p15:guide>
        <p15:guide id="3" pos="3915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3" y="712801"/>
            <a:ext cx="11171237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201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GB"/>
              <a:t>Click to edit Master title style</a:t>
            </a:r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201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Date Month 2016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9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Footer </a:t>
            </a:r>
          </a:p>
        </p:txBody>
      </p:sp>
      <p:sp>
        <p:nvSpPr>
          <p:cNvPr id="9" name="Content Placeholder 14"/>
          <p:cNvSpPr>
            <a:spLocks noGrp="1"/>
          </p:cNvSpPr>
          <p:nvPr>
            <p:ph sz="quarter" idx="13"/>
          </p:nvPr>
        </p:nvSpPr>
        <p:spPr>
          <a:xfrm>
            <a:off x="6215063" y="1528764"/>
            <a:ext cx="5464174" cy="4830761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2000"/>
            </a:lvl1pPr>
            <a:lvl2pPr marL="277207" indent="-277207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2000"/>
            </a:lvl2pPr>
            <a:lvl3pPr marL="522014" indent="-252007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3pPr>
            <a:lvl4pPr marL="756020" indent="-241207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4pPr>
            <a:lvl5pPr marL="964825" indent="-212406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1"/>
            </a:lvl5pPr>
            <a:lvl6pPr marL="1144829" indent="-180004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1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</p:txBody>
      </p:sp>
      <p:sp>
        <p:nvSpPr>
          <p:cNvPr id="11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4"/>
            <a:ext cx="5468939" cy="4830763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2000"/>
            </a:lvl1pPr>
            <a:lvl2pPr marL="277207" indent="-277207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2000"/>
            </a:lvl2pPr>
            <a:lvl3pPr marL="522014" indent="-252007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3pPr>
            <a:lvl4pPr marL="756020" indent="-24130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4pPr>
            <a:lvl5pPr marL="964825" indent="-212406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1"/>
            </a:lvl5pPr>
            <a:lvl6pPr marL="1144829" indent="-180004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401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2221831161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3" y="712801"/>
            <a:ext cx="11171237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201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GB"/>
              <a:t>Click to edit Master title style</a:t>
            </a:r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3" y="1528764"/>
            <a:ext cx="5464174" cy="4830762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600"/>
            </a:lvl1pPr>
            <a:lvl2pPr marL="216006" indent="-216006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600"/>
            </a:lvl2pPr>
            <a:lvl3pPr marL="410410" indent="-194404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600"/>
            </a:lvl3pPr>
            <a:lvl4pPr marL="597615" indent="-187204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600"/>
            </a:lvl4pPr>
            <a:lvl5pPr marL="766820" indent="-154804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1"/>
            </a:lvl5pPr>
            <a:lvl6pPr marL="914422" indent="-144004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tabLst/>
              <a:defRPr sz="12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4"/>
            <a:ext cx="5468939" cy="4830763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600"/>
            </a:lvl1pPr>
            <a:lvl2pPr marL="216006" indent="-216006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600"/>
            </a:lvl2pPr>
            <a:lvl3pPr marL="410410" indent="-194404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3pPr>
            <a:lvl4pPr marL="597615" indent="-187204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600"/>
            </a:lvl4pPr>
            <a:lvl5pPr marL="766820" indent="-154804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1"/>
            </a:lvl5pPr>
            <a:lvl6pPr marL="914422" indent="-144004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201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Date Month 2016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9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4220288947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Content Placeholder 51"/>
          <p:cNvSpPr>
            <a:spLocks noGrp="1"/>
          </p:cNvSpPr>
          <p:nvPr>
            <p:ph sz="quarter" idx="29" hasCustomPrompt="1"/>
          </p:nvPr>
        </p:nvSpPr>
        <p:spPr>
          <a:xfrm>
            <a:off x="509312" y="6201070"/>
            <a:ext cx="5543051" cy="158455"/>
          </a:xfrm>
        </p:spPr>
        <p:txBody>
          <a:bodyPr wrap="square">
            <a:noAutofit/>
          </a:bodyPr>
          <a:lstStyle>
            <a:lvl1pPr>
              <a:defRPr sz="9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EDIT SOURCE</a:t>
            </a:r>
          </a:p>
        </p:txBody>
      </p:sp>
      <p:sp>
        <p:nvSpPr>
          <p:cNvPr id="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3" y="712801"/>
            <a:ext cx="11171237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GB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201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GB" noProof="0"/>
              <a:t>Click to edit Master title style</a:t>
            </a:r>
          </a:p>
        </p:txBody>
      </p:sp>
      <p:sp>
        <p:nvSpPr>
          <p:cNvPr id="39" name="Content Placeholder 51"/>
          <p:cNvSpPr>
            <a:spLocks noGrp="1"/>
          </p:cNvSpPr>
          <p:nvPr>
            <p:ph sz="quarter" idx="45" hasCustomPrompt="1"/>
          </p:nvPr>
        </p:nvSpPr>
        <p:spPr>
          <a:xfrm>
            <a:off x="508000" y="4199574"/>
            <a:ext cx="5468939" cy="23814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1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201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lick to edit Unit of measure</a:t>
            </a:r>
          </a:p>
        </p:txBody>
      </p:sp>
      <p:sp>
        <p:nvSpPr>
          <p:cNvPr id="40" name="Content Placeholder 51"/>
          <p:cNvSpPr>
            <a:spLocks noGrp="1"/>
          </p:cNvSpPr>
          <p:nvPr>
            <p:ph sz="quarter" idx="46" hasCustomPrompt="1"/>
          </p:nvPr>
        </p:nvSpPr>
        <p:spPr>
          <a:xfrm>
            <a:off x="508000" y="3864613"/>
            <a:ext cx="5468939" cy="26968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201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hart title appears here</a:t>
            </a:r>
          </a:p>
        </p:txBody>
      </p:sp>
      <p:cxnSp>
        <p:nvCxnSpPr>
          <p:cNvPr id="41" name="Straight Connector 40"/>
          <p:cNvCxnSpPr/>
          <p:nvPr userDrawn="1"/>
        </p:nvCxnSpPr>
        <p:spPr>
          <a:xfrm>
            <a:off x="508000" y="4141372"/>
            <a:ext cx="5468939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Chart Placeholder 16"/>
          <p:cNvSpPr>
            <a:spLocks noGrp="1"/>
          </p:cNvSpPr>
          <p:nvPr>
            <p:ph type="chart" sz="quarter" idx="47"/>
          </p:nvPr>
        </p:nvSpPr>
        <p:spPr>
          <a:xfrm>
            <a:off x="508000" y="4456231"/>
            <a:ext cx="5468939" cy="1623641"/>
          </a:xfrm>
        </p:spPr>
        <p:txBody>
          <a:bodyPr>
            <a:normAutofit/>
          </a:bodyPr>
          <a:lstStyle>
            <a:lvl1pPr>
              <a:defRPr sz="1401">
                <a:solidFill>
                  <a:schemeClr val="tx1"/>
                </a:solidFill>
                <a:latin typeface="+mn-lt"/>
              </a:defRPr>
            </a:lvl1pPr>
          </a:lstStyle>
          <a:p>
            <a:endParaRPr lang="nl-NL"/>
          </a:p>
        </p:txBody>
      </p:sp>
      <p:cxnSp>
        <p:nvCxnSpPr>
          <p:cNvPr id="43" name="Straight Connector 42"/>
          <p:cNvCxnSpPr/>
          <p:nvPr userDrawn="1"/>
        </p:nvCxnSpPr>
        <p:spPr>
          <a:xfrm flipV="1">
            <a:off x="508000" y="5966640"/>
            <a:ext cx="5468939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Content Placeholder 51"/>
          <p:cNvSpPr>
            <a:spLocks noGrp="1"/>
          </p:cNvSpPr>
          <p:nvPr>
            <p:ph sz="quarter" idx="54" hasCustomPrompt="1"/>
          </p:nvPr>
        </p:nvSpPr>
        <p:spPr>
          <a:xfrm>
            <a:off x="508000" y="1863727"/>
            <a:ext cx="5468939" cy="23814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1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201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lick to edit Unit of measure</a:t>
            </a:r>
          </a:p>
        </p:txBody>
      </p:sp>
      <p:sp>
        <p:nvSpPr>
          <p:cNvPr id="100" name="Content Placeholder 51"/>
          <p:cNvSpPr>
            <a:spLocks noGrp="1"/>
          </p:cNvSpPr>
          <p:nvPr>
            <p:ph sz="quarter" idx="55" hasCustomPrompt="1"/>
          </p:nvPr>
        </p:nvSpPr>
        <p:spPr>
          <a:xfrm>
            <a:off x="508000" y="1528764"/>
            <a:ext cx="5468939" cy="26968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201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hart title appears here</a:t>
            </a:r>
          </a:p>
        </p:txBody>
      </p:sp>
      <p:cxnSp>
        <p:nvCxnSpPr>
          <p:cNvPr id="101" name="Straight Connector 100"/>
          <p:cNvCxnSpPr/>
          <p:nvPr userDrawn="1"/>
        </p:nvCxnSpPr>
        <p:spPr>
          <a:xfrm>
            <a:off x="508000" y="1805523"/>
            <a:ext cx="5468939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Chart Placeholder 16"/>
          <p:cNvSpPr>
            <a:spLocks noGrp="1"/>
          </p:cNvSpPr>
          <p:nvPr>
            <p:ph type="chart" sz="quarter" idx="56"/>
          </p:nvPr>
        </p:nvSpPr>
        <p:spPr>
          <a:xfrm>
            <a:off x="508000" y="2120384"/>
            <a:ext cx="5468939" cy="1623641"/>
          </a:xfrm>
        </p:spPr>
        <p:txBody>
          <a:bodyPr>
            <a:normAutofit/>
          </a:bodyPr>
          <a:lstStyle>
            <a:lvl1pPr>
              <a:defRPr sz="1401">
                <a:solidFill>
                  <a:schemeClr val="tx1"/>
                </a:solidFill>
                <a:latin typeface="+mn-lt"/>
              </a:defRPr>
            </a:lvl1pPr>
          </a:lstStyle>
          <a:p>
            <a:endParaRPr lang="nl-NL"/>
          </a:p>
        </p:txBody>
      </p:sp>
      <p:cxnSp>
        <p:nvCxnSpPr>
          <p:cNvPr id="103" name="Straight Connector 102"/>
          <p:cNvCxnSpPr/>
          <p:nvPr userDrawn="1"/>
        </p:nvCxnSpPr>
        <p:spPr>
          <a:xfrm flipV="1">
            <a:off x="508000" y="3732357"/>
            <a:ext cx="5468939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Content Placeholder 51"/>
          <p:cNvSpPr>
            <a:spLocks noGrp="1"/>
          </p:cNvSpPr>
          <p:nvPr>
            <p:ph sz="quarter" idx="57" hasCustomPrompt="1"/>
          </p:nvPr>
        </p:nvSpPr>
        <p:spPr>
          <a:xfrm>
            <a:off x="6215063" y="4199574"/>
            <a:ext cx="5464174" cy="23814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1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201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lick to edit Unit of measure</a:t>
            </a:r>
          </a:p>
        </p:txBody>
      </p:sp>
      <p:sp>
        <p:nvSpPr>
          <p:cNvPr id="105" name="Content Placeholder 51"/>
          <p:cNvSpPr>
            <a:spLocks noGrp="1"/>
          </p:cNvSpPr>
          <p:nvPr>
            <p:ph sz="quarter" idx="58" hasCustomPrompt="1"/>
          </p:nvPr>
        </p:nvSpPr>
        <p:spPr>
          <a:xfrm>
            <a:off x="6215063" y="3864613"/>
            <a:ext cx="5464174" cy="26968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201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HART TITLE APPEARS HERE</a:t>
            </a:r>
          </a:p>
        </p:txBody>
      </p:sp>
      <p:cxnSp>
        <p:nvCxnSpPr>
          <p:cNvPr id="106" name="Straight Connector 105"/>
          <p:cNvCxnSpPr/>
          <p:nvPr userDrawn="1"/>
        </p:nvCxnSpPr>
        <p:spPr>
          <a:xfrm>
            <a:off x="6215063" y="4141387"/>
            <a:ext cx="5464174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Chart Placeholder 16"/>
          <p:cNvSpPr>
            <a:spLocks noGrp="1"/>
          </p:cNvSpPr>
          <p:nvPr>
            <p:ph type="chart" sz="quarter" idx="59"/>
          </p:nvPr>
        </p:nvSpPr>
        <p:spPr>
          <a:xfrm>
            <a:off x="6215063" y="4456231"/>
            <a:ext cx="5464174" cy="1623641"/>
          </a:xfrm>
        </p:spPr>
        <p:txBody>
          <a:bodyPr>
            <a:normAutofit/>
          </a:bodyPr>
          <a:lstStyle>
            <a:lvl1pPr>
              <a:defRPr sz="1401">
                <a:solidFill>
                  <a:schemeClr val="tx1"/>
                </a:solidFill>
                <a:latin typeface="+mn-lt"/>
              </a:defRPr>
            </a:lvl1pPr>
          </a:lstStyle>
          <a:p>
            <a:endParaRPr lang="nl-NL"/>
          </a:p>
        </p:txBody>
      </p:sp>
      <p:cxnSp>
        <p:nvCxnSpPr>
          <p:cNvPr id="108" name="Straight Connector 107"/>
          <p:cNvCxnSpPr/>
          <p:nvPr userDrawn="1"/>
        </p:nvCxnSpPr>
        <p:spPr>
          <a:xfrm flipV="1">
            <a:off x="6215063" y="5966659"/>
            <a:ext cx="5464174" cy="1829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Content Placeholder 51"/>
          <p:cNvSpPr>
            <a:spLocks noGrp="1"/>
          </p:cNvSpPr>
          <p:nvPr>
            <p:ph sz="quarter" idx="60" hasCustomPrompt="1"/>
          </p:nvPr>
        </p:nvSpPr>
        <p:spPr>
          <a:xfrm>
            <a:off x="6215063" y="1863727"/>
            <a:ext cx="5464174" cy="23814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1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201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lick to edit Unit of measure</a:t>
            </a:r>
          </a:p>
        </p:txBody>
      </p:sp>
      <p:sp>
        <p:nvSpPr>
          <p:cNvPr id="110" name="Content Placeholder 51"/>
          <p:cNvSpPr>
            <a:spLocks noGrp="1"/>
          </p:cNvSpPr>
          <p:nvPr>
            <p:ph sz="quarter" idx="61" hasCustomPrompt="1"/>
          </p:nvPr>
        </p:nvSpPr>
        <p:spPr>
          <a:xfrm>
            <a:off x="6215063" y="1528764"/>
            <a:ext cx="5464174" cy="26968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201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hart title appears here</a:t>
            </a:r>
          </a:p>
        </p:txBody>
      </p:sp>
      <p:cxnSp>
        <p:nvCxnSpPr>
          <p:cNvPr id="111" name="Straight Connector 110"/>
          <p:cNvCxnSpPr/>
          <p:nvPr userDrawn="1"/>
        </p:nvCxnSpPr>
        <p:spPr>
          <a:xfrm>
            <a:off x="6215063" y="1805539"/>
            <a:ext cx="5464174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Chart Placeholder 16"/>
          <p:cNvSpPr>
            <a:spLocks noGrp="1"/>
          </p:cNvSpPr>
          <p:nvPr>
            <p:ph type="chart" sz="quarter" idx="62"/>
          </p:nvPr>
        </p:nvSpPr>
        <p:spPr>
          <a:xfrm>
            <a:off x="6215063" y="2120384"/>
            <a:ext cx="5464174" cy="1623641"/>
          </a:xfrm>
        </p:spPr>
        <p:txBody>
          <a:bodyPr>
            <a:normAutofit/>
          </a:bodyPr>
          <a:lstStyle>
            <a:lvl1pPr>
              <a:defRPr sz="1401">
                <a:solidFill>
                  <a:schemeClr val="tx1"/>
                </a:solidFill>
                <a:latin typeface="+mn-lt"/>
              </a:defRPr>
            </a:lvl1pPr>
          </a:lstStyle>
          <a:p>
            <a:endParaRPr lang="nl-NL"/>
          </a:p>
        </p:txBody>
      </p:sp>
      <p:cxnSp>
        <p:nvCxnSpPr>
          <p:cNvPr id="113" name="Straight Connector 112"/>
          <p:cNvCxnSpPr/>
          <p:nvPr userDrawn="1"/>
        </p:nvCxnSpPr>
        <p:spPr>
          <a:xfrm>
            <a:off x="6089109" y="3730543"/>
            <a:ext cx="5265195" cy="2448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201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Date Month 2016</a:t>
            </a:r>
          </a:p>
        </p:txBody>
      </p:sp>
      <p:sp>
        <p:nvSpPr>
          <p:cNvPr id="3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9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2616660813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4303194"/>
              </p:ext>
            </p:extLst>
          </p:nvPr>
        </p:nvGraphicFramePr>
        <p:xfrm>
          <a:off x="1588" y="158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 userDrawn="1"/>
        </p:nvSpPr>
        <p:spPr bwMode="gray">
          <a:xfrm>
            <a:off x="2" y="4313786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600"/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763200" y="2636981"/>
            <a:ext cx="6397451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1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8"/>
            <a:ext cx="639745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601" indent="0">
              <a:buNone/>
              <a:defRPr sz="2400"/>
            </a:lvl2pPr>
            <a:lvl3pPr marL="1219201" indent="0">
              <a:buNone/>
              <a:defRPr sz="2133"/>
            </a:lvl3pPr>
            <a:lvl4pPr marL="1828800" indent="0">
              <a:buNone/>
              <a:defRPr sz="1867"/>
            </a:lvl4pPr>
            <a:lvl5pPr marL="2438400" indent="0">
              <a:buNone/>
              <a:defRPr sz="1867"/>
            </a:lvl5pPr>
            <a:lvl6pPr marL="3048001" indent="0">
              <a:buNone/>
              <a:defRPr sz="1867"/>
            </a:lvl6pPr>
            <a:lvl7pPr marL="3657601" indent="0">
              <a:buNone/>
              <a:defRPr sz="1867"/>
            </a:lvl7pPr>
            <a:lvl8pPr marL="4267200" indent="0">
              <a:buNone/>
              <a:defRPr sz="1867"/>
            </a:lvl8pPr>
            <a:lvl9pPr marL="4876801" indent="0">
              <a:buNone/>
              <a:defRPr sz="1867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402835" y="1924114"/>
            <a:ext cx="4274843" cy="2930523"/>
          </a:xfrm>
          <a:prstGeom prst="rect">
            <a:avLst/>
          </a:prstGeom>
        </p:spPr>
        <p:txBody>
          <a:bodyPr lIns="0" tIns="0" rIns="0" bIns="0"/>
          <a:lstStyle>
            <a:lvl1pPr marL="0" algn="r" defTabSz="1219201" rtl="0" eaLnBrk="1" latinLnBrk="0" hangingPunct="1">
              <a:lnSpc>
                <a:spcPct val="100000"/>
              </a:lnSpc>
              <a:buClr>
                <a:srgbClr val="DD1D21"/>
              </a:buClr>
              <a:buSzPct val="85000"/>
              <a:buNone/>
              <a:tabLst>
                <a:tab pos="1081114" algn="l"/>
              </a:tabLst>
              <a:defRPr lang="en-GB" sz="20000" kern="10000" spc="-1001" baseline="0" dirty="0">
                <a:ln w="3175">
                  <a:noFill/>
                </a:ln>
                <a:solidFill>
                  <a:schemeClr val="accent1"/>
                </a:solidFill>
                <a:latin typeface="Futura Bold"/>
                <a:ea typeface="Arial" charset="0"/>
                <a:cs typeface="Futura Bold"/>
              </a:defRPr>
            </a:lvl1pPr>
          </a:lstStyle>
          <a:p>
            <a:pPr lvl="0"/>
            <a:r>
              <a:rPr lang="en-GB"/>
              <a:t>0.0</a:t>
            </a:r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9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358355708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61996" y="3556004"/>
            <a:ext cx="6858000" cy="2540001"/>
            <a:chOff x="761993" y="3556002"/>
            <a:chExt cx="6858000" cy="2540001"/>
          </a:xfrm>
        </p:grpSpPr>
        <p:sp>
          <p:nvSpPr>
            <p:cNvPr id="16" name="Rectangle 15"/>
            <p:cNvSpPr/>
            <p:nvPr userDrawn="1"/>
          </p:nvSpPr>
          <p:spPr bwMode="gray">
            <a:xfrm>
              <a:off x="761993" y="3556002"/>
              <a:ext cx="6858000" cy="2540001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sz="1600"/>
            </a:p>
          </p:txBody>
        </p:sp>
        <p:sp>
          <p:nvSpPr>
            <p:cNvPr id="28" name="Rectangle 27"/>
            <p:cNvSpPr/>
            <p:nvPr userDrawn="1"/>
          </p:nvSpPr>
          <p:spPr bwMode="gray">
            <a:xfrm>
              <a:off x="1145875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sz="1600">
                <a:solidFill>
                  <a:schemeClr val="tx1"/>
                </a:solidFill>
              </a:endParaRPr>
            </a:p>
          </p:txBody>
        </p:sp>
      </p:grpSp>
      <p:sp>
        <p:nvSpPr>
          <p:cNvPr id="32" name="Rectangle 31"/>
          <p:cNvSpPr/>
          <p:nvPr userDrawn="1"/>
        </p:nvSpPr>
        <p:spPr bwMode="white">
          <a:xfrm>
            <a:off x="501610" y="488937"/>
            <a:ext cx="1311092" cy="11880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/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9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Footer 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2"/>
            <a:ext cx="12194724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endParaRPr lang="en-GB"/>
          </a:p>
        </p:txBody>
      </p:sp>
      <p:sp>
        <p:nvSpPr>
          <p:cNvPr id="1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45876" y="4028767"/>
            <a:ext cx="6177756" cy="865472"/>
          </a:xfrm>
          <a:noFill/>
        </p:spPr>
        <p:txBody>
          <a:bodyPr lIns="0" tIns="0" rIns="0"/>
          <a:lstStyle>
            <a:lvl1pPr>
              <a:defRPr sz="240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45876" y="5092243"/>
            <a:ext cx="6177756" cy="7706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lang="en-GB" sz="1401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1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201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Date Month 2016</a:t>
            </a:r>
          </a:p>
        </p:txBody>
      </p:sp>
    </p:spTree>
    <p:extLst>
      <p:ext uri="{BB962C8B-B14F-4D97-AF65-F5344CB8AC3E}">
        <p14:creationId xmlns:p14="http://schemas.microsoft.com/office/powerpoint/2010/main" val="726523555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3" y="712801"/>
            <a:ext cx="11171237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201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GB"/>
              <a:t>Click to edit Master title style</a:t>
            </a:r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9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Footer </a:t>
            </a:r>
          </a:p>
        </p:txBody>
      </p:sp>
      <p:sp>
        <p:nvSpPr>
          <p:cNvPr id="7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201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Date Month 2016</a:t>
            </a:r>
          </a:p>
        </p:txBody>
      </p:sp>
    </p:spTree>
    <p:extLst>
      <p:ext uri="{BB962C8B-B14F-4D97-AF65-F5344CB8AC3E}">
        <p14:creationId xmlns:p14="http://schemas.microsoft.com/office/powerpoint/2010/main" val="2794946649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3" y="712801"/>
            <a:ext cx="11171237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201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GB"/>
              <a:t>Click to edit Master title style</a:t>
            </a:r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201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Date Month 2016</a:t>
            </a:r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9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1218825287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13181" y="1438481"/>
            <a:ext cx="11166562" cy="2861742"/>
          </a:xfrm>
        </p:spPr>
        <p:txBody>
          <a:bodyPr/>
          <a:lstStyle>
            <a:lvl1pPr>
              <a:lnSpc>
                <a:spcPct val="110000"/>
              </a:lnSpc>
              <a:defRPr lang="en-US" sz="3401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5092676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&amp;A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 bwMode="gray">
          <a:xfrm>
            <a:off x="2" y="4313786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23" name="Rectangle 22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600"/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763203" y="2636981"/>
            <a:ext cx="5187472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1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8"/>
            <a:ext cx="6375762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601" indent="0">
              <a:buNone/>
              <a:defRPr sz="2400"/>
            </a:lvl2pPr>
            <a:lvl3pPr marL="1219201" indent="0">
              <a:buNone/>
              <a:defRPr sz="2133"/>
            </a:lvl3pPr>
            <a:lvl4pPr marL="1828800" indent="0">
              <a:buNone/>
              <a:defRPr sz="1867"/>
            </a:lvl4pPr>
            <a:lvl5pPr marL="2438400" indent="0">
              <a:buNone/>
              <a:defRPr sz="1867"/>
            </a:lvl5pPr>
            <a:lvl6pPr marL="3048001" indent="0">
              <a:buNone/>
              <a:defRPr sz="1867"/>
            </a:lvl6pPr>
            <a:lvl7pPr marL="3657601" indent="0">
              <a:buNone/>
              <a:defRPr sz="1867"/>
            </a:lvl7pPr>
            <a:lvl8pPr marL="4267200" indent="0">
              <a:buNone/>
              <a:defRPr sz="1867"/>
            </a:lvl8pPr>
            <a:lvl9pPr marL="4876801" indent="0">
              <a:buNone/>
              <a:defRPr sz="1867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201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Date Month 2016</a:t>
            </a:r>
          </a:p>
        </p:txBody>
      </p:sp>
      <p:sp>
        <p:nvSpPr>
          <p:cNvPr id="2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9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Footer </a:t>
            </a:r>
          </a:p>
        </p:txBody>
      </p:sp>
      <p:grpSp>
        <p:nvGrpSpPr>
          <p:cNvPr id="31" name="Group 30"/>
          <p:cNvGrpSpPr/>
          <p:nvPr userDrawn="1"/>
        </p:nvGrpSpPr>
        <p:grpSpPr bwMode="gray">
          <a:xfrm>
            <a:off x="6450012" y="2557463"/>
            <a:ext cx="5197476" cy="1917700"/>
            <a:chOff x="6450013" y="2557463"/>
            <a:chExt cx="5197475" cy="1917700"/>
          </a:xfrm>
        </p:grpSpPr>
        <p:sp>
          <p:nvSpPr>
            <p:cNvPr id="32" name="Freeform 6"/>
            <p:cNvSpPr>
              <a:spLocks noEditPoints="1"/>
            </p:cNvSpPr>
            <p:nvPr userDrawn="1"/>
          </p:nvSpPr>
          <p:spPr bwMode="gray">
            <a:xfrm>
              <a:off x="6450013" y="2557463"/>
              <a:ext cx="2005013" cy="1917700"/>
            </a:xfrm>
            <a:custGeom>
              <a:avLst/>
              <a:gdLst>
                <a:gd name="T0" fmla="*/ 274 w 346"/>
                <a:gd name="T1" fmla="*/ 331 h 331"/>
                <a:gd name="T2" fmla="*/ 250 w 346"/>
                <a:gd name="T3" fmla="*/ 302 h 331"/>
                <a:gd name="T4" fmla="*/ 167 w 346"/>
                <a:gd name="T5" fmla="*/ 322 h 331"/>
                <a:gd name="T6" fmla="*/ 0 w 346"/>
                <a:gd name="T7" fmla="*/ 156 h 331"/>
                <a:gd name="T8" fmla="*/ 167 w 346"/>
                <a:gd name="T9" fmla="*/ 0 h 331"/>
                <a:gd name="T10" fmla="*/ 334 w 346"/>
                <a:gd name="T11" fmla="*/ 162 h 331"/>
                <a:gd name="T12" fmla="*/ 295 w 346"/>
                <a:gd name="T13" fmla="*/ 268 h 331"/>
                <a:gd name="T14" fmla="*/ 346 w 346"/>
                <a:gd name="T15" fmla="*/ 320 h 331"/>
                <a:gd name="T16" fmla="*/ 274 w 346"/>
                <a:gd name="T17" fmla="*/ 331 h 331"/>
                <a:gd name="T18" fmla="*/ 238 w 346"/>
                <a:gd name="T19" fmla="*/ 207 h 331"/>
                <a:gd name="T20" fmla="*/ 252 w 346"/>
                <a:gd name="T21" fmla="*/ 162 h 331"/>
                <a:gd name="T22" fmla="*/ 167 w 346"/>
                <a:gd name="T23" fmla="*/ 76 h 331"/>
                <a:gd name="T24" fmla="*/ 82 w 346"/>
                <a:gd name="T25" fmla="*/ 156 h 331"/>
                <a:gd name="T26" fmla="*/ 167 w 346"/>
                <a:gd name="T27" fmla="*/ 246 h 331"/>
                <a:gd name="T28" fmla="*/ 191 w 346"/>
                <a:gd name="T29" fmla="*/ 242 h 331"/>
                <a:gd name="T30" fmla="*/ 143 w 346"/>
                <a:gd name="T31" fmla="*/ 194 h 331"/>
                <a:gd name="T32" fmla="*/ 217 w 346"/>
                <a:gd name="T33" fmla="*/ 185 h 331"/>
                <a:gd name="T34" fmla="*/ 238 w 346"/>
                <a:gd name="T35" fmla="*/ 207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6" h="331">
                  <a:moveTo>
                    <a:pt x="274" y="331"/>
                  </a:moveTo>
                  <a:cubicBezTo>
                    <a:pt x="250" y="302"/>
                    <a:pt x="250" y="302"/>
                    <a:pt x="250" y="302"/>
                  </a:cubicBezTo>
                  <a:cubicBezTo>
                    <a:pt x="227" y="316"/>
                    <a:pt x="199" y="322"/>
                    <a:pt x="167" y="322"/>
                  </a:cubicBezTo>
                  <a:cubicBezTo>
                    <a:pt x="70" y="322"/>
                    <a:pt x="0" y="253"/>
                    <a:pt x="0" y="156"/>
                  </a:cubicBezTo>
                  <a:cubicBezTo>
                    <a:pt x="0" y="64"/>
                    <a:pt x="80" y="0"/>
                    <a:pt x="167" y="0"/>
                  </a:cubicBezTo>
                  <a:cubicBezTo>
                    <a:pt x="261" y="0"/>
                    <a:pt x="334" y="64"/>
                    <a:pt x="334" y="162"/>
                  </a:cubicBezTo>
                  <a:cubicBezTo>
                    <a:pt x="334" y="202"/>
                    <a:pt x="320" y="237"/>
                    <a:pt x="295" y="268"/>
                  </a:cubicBezTo>
                  <a:cubicBezTo>
                    <a:pt x="346" y="320"/>
                    <a:pt x="346" y="320"/>
                    <a:pt x="346" y="320"/>
                  </a:cubicBezTo>
                  <a:lnTo>
                    <a:pt x="274" y="331"/>
                  </a:lnTo>
                  <a:close/>
                  <a:moveTo>
                    <a:pt x="238" y="207"/>
                  </a:moveTo>
                  <a:cubicBezTo>
                    <a:pt x="247" y="194"/>
                    <a:pt x="252" y="178"/>
                    <a:pt x="252" y="162"/>
                  </a:cubicBezTo>
                  <a:cubicBezTo>
                    <a:pt x="252" y="117"/>
                    <a:pt x="215" y="76"/>
                    <a:pt x="167" y="76"/>
                  </a:cubicBezTo>
                  <a:cubicBezTo>
                    <a:pt x="121" y="76"/>
                    <a:pt x="82" y="114"/>
                    <a:pt x="82" y="156"/>
                  </a:cubicBezTo>
                  <a:cubicBezTo>
                    <a:pt x="82" y="208"/>
                    <a:pt x="121" y="246"/>
                    <a:pt x="167" y="246"/>
                  </a:cubicBezTo>
                  <a:cubicBezTo>
                    <a:pt x="175" y="246"/>
                    <a:pt x="183" y="245"/>
                    <a:pt x="191" y="242"/>
                  </a:cubicBezTo>
                  <a:cubicBezTo>
                    <a:pt x="143" y="194"/>
                    <a:pt x="143" y="194"/>
                    <a:pt x="143" y="194"/>
                  </a:cubicBezTo>
                  <a:cubicBezTo>
                    <a:pt x="217" y="185"/>
                    <a:pt x="217" y="185"/>
                    <a:pt x="217" y="185"/>
                  </a:cubicBezTo>
                  <a:lnTo>
                    <a:pt x="238" y="20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0"/>
            </a:p>
          </p:txBody>
        </p:sp>
        <p:sp>
          <p:nvSpPr>
            <p:cNvPr id="33" name="Freeform 7"/>
            <p:cNvSpPr>
              <a:spLocks noEditPoints="1"/>
            </p:cNvSpPr>
            <p:nvPr userDrawn="1"/>
          </p:nvSpPr>
          <p:spPr bwMode="gray">
            <a:xfrm>
              <a:off x="8426451" y="2586038"/>
              <a:ext cx="1441450" cy="1814513"/>
            </a:xfrm>
            <a:custGeom>
              <a:avLst/>
              <a:gdLst>
                <a:gd name="T0" fmla="*/ 190 w 249"/>
                <a:gd name="T1" fmla="*/ 257 h 313"/>
                <a:gd name="T2" fmla="*/ 79 w 249"/>
                <a:gd name="T3" fmla="*/ 313 h 313"/>
                <a:gd name="T4" fmla="*/ 0 w 249"/>
                <a:gd name="T5" fmla="*/ 233 h 313"/>
                <a:gd name="T6" fmla="*/ 92 w 249"/>
                <a:gd name="T7" fmla="*/ 124 h 313"/>
                <a:gd name="T8" fmla="*/ 60 w 249"/>
                <a:gd name="T9" fmla="*/ 58 h 313"/>
                <a:gd name="T10" fmla="*/ 119 w 249"/>
                <a:gd name="T11" fmla="*/ 0 h 313"/>
                <a:gd name="T12" fmla="*/ 174 w 249"/>
                <a:gd name="T13" fmla="*/ 56 h 313"/>
                <a:gd name="T14" fmla="*/ 117 w 249"/>
                <a:gd name="T15" fmla="*/ 130 h 313"/>
                <a:gd name="T16" fmla="*/ 192 w 249"/>
                <a:gd name="T17" fmla="*/ 232 h 313"/>
                <a:gd name="T18" fmla="*/ 230 w 249"/>
                <a:gd name="T19" fmla="*/ 190 h 313"/>
                <a:gd name="T20" fmla="*/ 245 w 249"/>
                <a:gd name="T21" fmla="*/ 198 h 313"/>
                <a:gd name="T22" fmla="*/ 203 w 249"/>
                <a:gd name="T23" fmla="*/ 246 h 313"/>
                <a:gd name="T24" fmla="*/ 249 w 249"/>
                <a:gd name="T25" fmla="*/ 307 h 313"/>
                <a:gd name="T26" fmla="*/ 228 w 249"/>
                <a:gd name="T27" fmla="*/ 307 h 313"/>
                <a:gd name="T28" fmla="*/ 190 w 249"/>
                <a:gd name="T29" fmla="*/ 257 h 313"/>
                <a:gd name="T30" fmla="*/ 84 w 249"/>
                <a:gd name="T31" fmla="*/ 152 h 313"/>
                <a:gd name="T32" fmla="*/ 19 w 249"/>
                <a:gd name="T33" fmla="*/ 231 h 313"/>
                <a:gd name="T34" fmla="*/ 79 w 249"/>
                <a:gd name="T35" fmla="*/ 295 h 313"/>
                <a:gd name="T36" fmla="*/ 179 w 249"/>
                <a:gd name="T37" fmla="*/ 242 h 313"/>
                <a:gd name="T38" fmla="*/ 103 w 249"/>
                <a:gd name="T39" fmla="*/ 139 h 313"/>
                <a:gd name="T40" fmla="*/ 84 w 249"/>
                <a:gd name="T41" fmla="*/ 152 h 313"/>
                <a:gd name="T42" fmla="*/ 79 w 249"/>
                <a:gd name="T43" fmla="*/ 60 h 313"/>
                <a:gd name="T44" fmla="*/ 106 w 249"/>
                <a:gd name="T45" fmla="*/ 115 h 313"/>
                <a:gd name="T46" fmla="*/ 154 w 249"/>
                <a:gd name="T47" fmla="*/ 55 h 313"/>
                <a:gd name="T48" fmla="*/ 118 w 249"/>
                <a:gd name="T49" fmla="*/ 18 h 313"/>
                <a:gd name="T50" fmla="*/ 79 w 249"/>
                <a:gd name="T51" fmla="*/ 6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49" h="313">
                  <a:moveTo>
                    <a:pt x="190" y="257"/>
                  </a:moveTo>
                  <a:cubicBezTo>
                    <a:pt x="156" y="285"/>
                    <a:pt x="118" y="313"/>
                    <a:pt x="79" y="313"/>
                  </a:cubicBezTo>
                  <a:cubicBezTo>
                    <a:pt x="34" y="313"/>
                    <a:pt x="0" y="277"/>
                    <a:pt x="0" y="233"/>
                  </a:cubicBezTo>
                  <a:cubicBezTo>
                    <a:pt x="0" y="181"/>
                    <a:pt x="50" y="150"/>
                    <a:pt x="92" y="124"/>
                  </a:cubicBezTo>
                  <a:cubicBezTo>
                    <a:pt x="78" y="104"/>
                    <a:pt x="60" y="84"/>
                    <a:pt x="60" y="58"/>
                  </a:cubicBezTo>
                  <a:cubicBezTo>
                    <a:pt x="60" y="26"/>
                    <a:pt x="87" y="0"/>
                    <a:pt x="119" y="0"/>
                  </a:cubicBezTo>
                  <a:cubicBezTo>
                    <a:pt x="150" y="0"/>
                    <a:pt x="174" y="25"/>
                    <a:pt x="174" y="56"/>
                  </a:cubicBezTo>
                  <a:cubicBezTo>
                    <a:pt x="174" y="90"/>
                    <a:pt x="146" y="110"/>
                    <a:pt x="117" y="130"/>
                  </a:cubicBezTo>
                  <a:cubicBezTo>
                    <a:pt x="192" y="232"/>
                    <a:pt x="192" y="232"/>
                    <a:pt x="192" y="232"/>
                  </a:cubicBezTo>
                  <a:cubicBezTo>
                    <a:pt x="230" y="190"/>
                    <a:pt x="230" y="190"/>
                    <a:pt x="230" y="190"/>
                  </a:cubicBezTo>
                  <a:cubicBezTo>
                    <a:pt x="245" y="198"/>
                    <a:pt x="245" y="198"/>
                    <a:pt x="245" y="198"/>
                  </a:cubicBezTo>
                  <a:cubicBezTo>
                    <a:pt x="203" y="246"/>
                    <a:pt x="203" y="246"/>
                    <a:pt x="203" y="246"/>
                  </a:cubicBezTo>
                  <a:cubicBezTo>
                    <a:pt x="249" y="307"/>
                    <a:pt x="249" y="307"/>
                    <a:pt x="249" y="307"/>
                  </a:cubicBezTo>
                  <a:cubicBezTo>
                    <a:pt x="228" y="307"/>
                    <a:pt x="228" y="307"/>
                    <a:pt x="228" y="307"/>
                  </a:cubicBezTo>
                  <a:lnTo>
                    <a:pt x="190" y="257"/>
                  </a:lnTo>
                  <a:close/>
                  <a:moveTo>
                    <a:pt x="84" y="152"/>
                  </a:moveTo>
                  <a:cubicBezTo>
                    <a:pt x="55" y="170"/>
                    <a:pt x="19" y="193"/>
                    <a:pt x="19" y="231"/>
                  </a:cubicBezTo>
                  <a:cubicBezTo>
                    <a:pt x="19" y="265"/>
                    <a:pt x="44" y="295"/>
                    <a:pt x="79" y="295"/>
                  </a:cubicBezTo>
                  <a:cubicBezTo>
                    <a:pt x="114" y="295"/>
                    <a:pt x="151" y="265"/>
                    <a:pt x="179" y="242"/>
                  </a:cubicBezTo>
                  <a:cubicBezTo>
                    <a:pt x="103" y="139"/>
                    <a:pt x="103" y="139"/>
                    <a:pt x="103" y="139"/>
                  </a:cubicBezTo>
                  <a:lnTo>
                    <a:pt x="84" y="152"/>
                  </a:lnTo>
                  <a:close/>
                  <a:moveTo>
                    <a:pt x="79" y="60"/>
                  </a:moveTo>
                  <a:cubicBezTo>
                    <a:pt x="79" y="81"/>
                    <a:pt x="95" y="97"/>
                    <a:pt x="106" y="115"/>
                  </a:cubicBezTo>
                  <a:cubicBezTo>
                    <a:pt x="127" y="99"/>
                    <a:pt x="154" y="86"/>
                    <a:pt x="154" y="55"/>
                  </a:cubicBezTo>
                  <a:cubicBezTo>
                    <a:pt x="154" y="35"/>
                    <a:pt x="138" y="18"/>
                    <a:pt x="118" y="18"/>
                  </a:cubicBezTo>
                  <a:cubicBezTo>
                    <a:pt x="96" y="18"/>
                    <a:pt x="79" y="39"/>
                    <a:pt x="79" y="6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0"/>
            </a:p>
          </p:txBody>
        </p:sp>
        <p:sp>
          <p:nvSpPr>
            <p:cNvPr id="35" name="Freeform 8"/>
            <p:cNvSpPr>
              <a:spLocks noEditPoints="1"/>
            </p:cNvSpPr>
            <p:nvPr userDrawn="1"/>
          </p:nvSpPr>
          <p:spPr bwMode="gray">
            <a:xfrm>
              <a:off x="9821863" y="2614613"/>
              <a:ext cx="1825625" cy="1751013"/>
            </a:xfrm>
            <a:custGeom>
              <a:avLst/>
              <a:gdLst>
                <a:gd name="T0" fmla="*/ 380 w 1150"/>
                <a:gd name="T1" fmla="*/ 913 h 1103"/>
                <a:gd name="T2" fmla="*/ 303 w 1150"/>
                <a:gd name="T3" fmla="*/ 1103 h 1103"/>
                <a:gd name="T4" fmla="*/ 0 w 1150"/>
                <a:gd name="T5" fmla="*/ 1103 h 1103"/>
                <a:gd name="T6" fmla="*/ 424 w 1150"/>
                <a:gd name="T7" fmla="*/ 0 h 1103"/>
                <a:gd name="T8" fmla="*/ 734 w 1150"/>
                <a:gd name="T9" fmla="*/ 0 h 1103"/>
                <a:gd name="T10" fmla="*/ 1150 w 1150"/>
                <a:gd name="T11" fmla="*/ 1103 h 1103"/>
                <a:gd name="T12" fmla="*/ 843 w 1150"/>
                <a:gd name="T13" fmla="*/ 1103 h 1103"/>
                <a:gd name="T14" fmla="*/ 774 w 1150"/>
                <a:gd name="T15" fmla="*/ 913 h 1103"/>
                <a:gd name="T16" fmla="*/ 380 w 1150"/>
                <a:gd name="T17" fmla="*/ 913 h 1103"/>
                <a:gd name="T18" fmla="*/ 581 w 1150"/>
                <a:gd name="T19" fmla="*/ 344 h 1103"/>
                <a:gd name="T20" fmla="*/ 577 w 1150"/>
                <a:gd name="T21" fmla="*/ 344 h 1103"/>
                <a:gd name="T22" fmla="*/ 456 w 1150"/>
                <a:gd name="T23" fmla="*/ 694 h 1103"/>
                <a:gd name="T24" fmla="*/ 697 w 1150"/>
                <a:gd name="T25" fmla="*/ 694 h 1103"/>
                <a:gd name="T26" fmla="*/ 581 w 1150"/>
                <a:gd name="T27" fmla="*/ 344 h 1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0" h="1103">
                  <a:moveTo>
                    <a:pt x="380" y="913"/>
                  </a:moveTo>
                  <a:lnTo>
                    <a:pt x="303" y="1103"/>
                  </a:lnTo>
                  <a:lnTo>
                    <a:pt x="0" y="1103"/>
                  </a:lnTo>
                  <a:lnTo>
                    <a:pt x="424" y="0"/>
                  </a:lnTo>
                  <a:lnTo>
                    <a:pt x="734" y="0"/>
                  </a:lnTo>
                  <a:lnTo>
                    <a:pt x="1150" y="1103"/>
                  </a:lnTo>
                  <a:lnTo>
                    <a:pt x="843" y="1103"/>
                  </a:lnTo>
                  <a:lnTo>
                    <a:pt x="774" y="913"/>
                  </a:lnTo>
                  <a:lnTo>
                    <a:pt x="380" y="913"/>
                  </a:lnTo>
                  <a:close/>
                  <a:moveTo>
                    <a:pt x="581" y="344"/>
                  </a:moveTo>
                  <a:lnTo>
                    <a:pt x="577" y="344"/>
                  </a:lnTo>
                  <a:lnTo>
                    <a:pt x="456" y="694"/>
                  </a:lnTo>
                  <a:lnTo>
                    <a:pt x="697" y="694"/>
                  </a:lnTo>
                  <a:lnTo>
                    <a:pt x="581" y="34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0"/>
            </a:p>
          </p:txBody>
        </p:sp>
      </p:grpSp>
    </p:spTree>
    <p:extLst>
      <p:ext uri="{BB962C8B-B14F-4D97-AF65-F5344CB8AC3E}">
        <p14:creationId xmlns:p14="http://schemas.microsoft.com/office/powerpoint/2010/main" val="197231617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9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Footer </a:t>
            </a:r>
          </a:p>
        </p:txBody>
      </p:sp>
      <p:sp>
        <p:nvSpPr>
          <p:cNvPr id="1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201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Date Month 2016</a:t>
            </a:r>
          </a:p>
        </p:txBody>
      </p:sp>
      <p:sp>
        <p:nvSpPr>
          <p:cNvPr id="1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60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>
                <a:solidFill>
                  <a:schemeClr val="tx1"/>
                </a:solidFill>
                <a:latin typeface="+mn-lt"/>
                <a:cs typeface="Arial" pitchFamily="34" charset="0"/>
              </a:rPr>
              <a:t>Shell Nigeria</a:t>
            </a:r>
          </a:p>
        </p:txBody>
      </p:sp>
    </p:spTree>
    <p:extLst>
      <p:ext uri="{BB962C8B-B14F-4D97-AF65-F5344CB8AC3E}">
        <p14:creationId xmlns:p14="http://schemas.microsoft.com/office/powerpoint/2010/main" val="2747761579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(Mandator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0211" y="1280160"/>
            <a:ext cx="4300222" cy="43002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321931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48783" y="1179578"/>
            <a:ext cx="11076268" cy="1285608"/>
          </a:xfrm>
          <a:prstGeom prst="rect">
            <a:avLst/>
          </a:prstGeom>
        </p:spPr>
        <p:txBody>
          <a:bodyPr lIns="0" tIns="0" rIns="0" bIns="0"/>
          <a:lstStyle>
            <a:lvl1pPr marL="128613" indent="-128613">
              <a:lnSpc>
                <a:spcPct val="90000"/>
              </a:lnSpc>
              <a:spcBef>
                <a:spcPts val="375"/>
              </a:spcBef>
              <a:buClrTx/>
              <a:buFont typeface="Arial" panose="020B0604020202020204" pitchFamily="34" charset="0"/>
              <a:buChar char="•"/>
              <a:defRPr sz="180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7" indent="-171453">
              <a:lnSpc>
                <a:spcPct val="90000"/>
              </a:lnSpc>
              <a:spcBef>
                <a:spcPts val="375"/>
              </a:spcBef>
              <a:buClrTx/>
              <a:buFont typeface="Arial" pitchFamily="34" charset="0"/>
              <a:buChar char="–"/>
              <a:defRPr sz="1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627075" indent="-112716">
              <a:lnSpc>
                <a:spcPct val="90000"/>
              </a:lnSpc>
              <a:spcBef>
                <a:spcPts val="375"/>
              </a:spcBef>
              <a:buClrTx/>
              <a:buFont typeface="Arial" panose="020B0604020202020204" pitchFamily="34" charset="0"/>
              <a:buChar char="-"/>
              <a:defRPr sz="1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860439" indent="-117477">
              <a:lnSpc>
                <a:spcPct val="90000"/>
              </a:lnSpc>
              <a:spcBef>
                <a:spcPts val="375"/>
              </a:spcBef>
              <a:buClrTx/>
              <a:buFont typeface="Arial" panose="020B0604020202020204" pitchFamily="34" charset="0"/>
              <a:buChar char="-"/>
              <a:defRPr sz="1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084280" indent="-112716">
              <a:lnSpc>
                <a:spcPct val="90000"/>
              </a:lnSpc>
              <a:spcBef>
                <a:spcPts val="375"/>
              </a:spcBef>
              <a:buClrTx/>
              <a:buFont typeface="Arial" panose="020B0604020202020204" pitchFamily="34" charset="0"/>
              <a:buChar char="-"/>
              <a:defRPr sz="1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1801"/>
            </a:lvl6pPr>
            <a:lvl7pPr>
              <a:defRPr sz="1801"/>
            </a:lvl7pPr>
            <a:lvl8pPr>
              <a:defRPr sz="1801"/>
            </a:lvl8pPr>
            <a:lvl9pPr>
              <a:defRPr sz="180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200067" y="393451"/>
            <a:ext cx="11034354" cy="33868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4147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" y="0"/>
          <a:ext cx="21166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211668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/>
        </p:nvSpPr>
        <p:spPr bwMode="auto">
          <a:xfrm>
            <a:off x="12" y="4313786"/>
            <a:ext cx="12191998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17" name="Rectangle 16" descr="&lt;Shell Yellow Bar&gt;" title="&lt;Shell Yellow Bar&gt;"/>
          <p:cNvSpPr/>
          <p:nvPr userDrawn="1"/>
        </p:nvSpPr>
        <p:spPr bwMode="auto">
          <a:xfrm>
            <a:off x="1778011" y="761999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600">
              <a:solidFill>
                <a:schemeClr val="tx1"/>
              </a:solidFill>
            </a:endParaRPr>
          </a:p>
        </p:txBody>
      </p:sp>
      <p:pic>
        <p:nvPicPr>
          <p:cNvPr id="18" name="Picture 17" descr="PECTEN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27001" y="645968"/>
            <a:ext cx="1524000" cy="1524000"/>
          </a:xfrm>
          <a:prstGeom prst="rect">
            <a:avLst/>
          </a:prstGeom>
        </p:spPr>
      </p:pic>
      <p:sp>
        <p:nvSpPr>
          <p:cNvPr id="4" name="Working Draft Text"/>
          <p:cNvSpPr txBox="1">
            <a:spLocks noChangeArrowheads="1"/>
          </p:cNvSpPr>
          <p:nvPr/>
        </p:nvSpPr>
        <p:spPr bwMode="auto">
          <a:xfrm>
            <a:off x="1778014" y="231415"/>
            <a:ext cx="896079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defRPr/>
            </a:pPr>
            <a:r>
              <a:rPr lang="en-US" sz="900" b="1" baseline="0" noProof="0">
                <a:solidFill>
                  <a:schemeClr val="accent6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1778012" y="390962"/>
            <a:ext cx="3329438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defRPr/>
            </a:pPr>
            <a:r>
              <a:rPr lang="en-GB" sz="900" baseline="0" noProof="0">
                <a:solidFill>
                  <a:schemeClr val="accent6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ast Modified 03/03/2017 08:19 W. Central Africa Standard Time</a:t>
            </a:r>
            <a:endParaRPr lang="en-US" sz="900" baseline="0" noProof="0">
              <a:solidFill>
                <a:schemeClr val="accent6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1778013" y="550507"/>
            <a:ext cx="335028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defRPr/>
            </a:pPr>
            <a:r>
              <a:rPr lang="en-US" sz="900" baseline="0" noProof="0">
                <a:solidFill>
                  <a:schemeClr val="accent6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rinted</a:t>
            </a: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1778011" y="3765122"/>
            <a:ext cx="6694610" cy="2155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l" defTabSz="91442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401" baseline="0" noProof="0">
                <a:solidFill>
                  <a:schemeClr val="accent6"/>
                </a:solidFill>
                <a:latin typeface="+mn-lt"/>
              </a:rPr>
              <a:t>Document type | </a:t>
            </a:r>
            <a:r>
              <a:rPr lang="en-US" sz="1401" kern="1200" baseline="0" noProof="0">
                <a:solidFill>
                  <a:schemeClr val="accent6"/>
                </a:solidFill>
                <a:latin typeface="+mn-lt"/>
                <a:ea typeface="+mn-ea"/>
                <a:cs typeface="+mn-cs"/>
              </a:rPr>
              <a:t>Date</a:t>
            </a:r>
            <a:endParaRPr lang="en-US" sz="1401" baseline="0" noProof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1778011" y="1161746"/>
            <a:ext cx="669461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3200" b="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1778011" y="2602007"/>
            <a:ext cx="6694610" cy="215572"/>
          </a:xfrm>
        </p:spPr>
        <p:txBody>
          <a:bodyPr>
            <a:spAutoFit/>
          </a:bodyPr>
          <a:lstStyle>
            <a:lvl1pPr algn="l">
              <a:defRPr sz="1401" cap="all" baseline="0">
                <a:solidFill>
                  <a:schemeClr val="accent6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19" name="doc id"/>
          <p:cNvSpPr>
            <a:spLocks noChangeArrowheads="1"/>
          </p:cNvSpPr>
          <p:nvPr userDrawn="1"/>
        </p:nvSpPr>
        <p:spPr bwMode="auto">
          <a:xfrm>
            <a:off x="11061357" y="37255"/>
            <a:ext cx="894153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49"/>
            <a:endParaRPr lang="en-US" sz="800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1009353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549313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854487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0" y="228603"/>
            <a:ext cx="11567584" cy="516467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vert="horz" wrap="square" lIns="928516" tIns="133161" rIns="35988" bIns="0" numCol="1" anchor="t" anchorCtr="0" compatLnSpc="1">
            <a:prstTxWarp prst="textNoShape">
              <a:avLst/>
            </a:prstTxWarp>
          </a:bodyPr>
          <a:lstStyle/>
          <a:p>
            <a:pPr defTabSz="914132" eaLnBrk="0" hangingPunct="0">
              <a:lnSpc>
                <a:spcPct val="90000"/>
              </a:lnSpc>
            </a:pPr>
            <a:endParaRPr lang="en-US" sz="2450" b="1">
              <a:solidFill>
                <a:srgbClr val="D42E12"/>
              </a:solidFill>
              <a:latin typeface="Futura Medium" pitchFamily="18" charset="0"/>
            </a:endParaRP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21179" y="295203"/>
            <a:ext cx="10846172" cy="33868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624422" y="1312203"/>
            <a:ext cx="10945282" cy="1513556"/>
          </a:xfrm>
        </p:spPr>
        <p:txBody>
          <a:bodyPr/>
          <a:lstStyle>
            <a:lvl1pPr marL="0" indent="0" defTabSz="268210">
              <a:lnSpc>
                <a:spcPct val="120000"/>
              </a:lnSpc>
              <a:spcBef>
                <a:spcPts val="0"/>
              </a:spcBef>
              <a:defRPr/>
            </a:lvl1pPr>
            <a:lvl2pPr marL="271383" indent="-271383" defTabSz="268210">
              <a:lnSpc>
                <a:spcPct val="120000"/>
              </a:lnSpc>
              <a:spcBef>
                <a:spcPts val="0"/>
              </a:spcBef>
              <a:defRPr/>
            </a:lvl2pPr>
            <a:lvl3pPr marL="450719" indent="-180923" defTabSz="268210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2041"/>
            </a:lvl3pPr>
            <a:lvl4pPr defTabSz="268210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32"/>
            </a:lvl4pPr>
            <a:lvl5pPr defTabSz="268210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28"/>
            </a:lvl5pPr>
            <a:lvl6pPr defTabSz="268210">
              <a:lnSpc>
                <a:spcPct val="12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05495032"/>
      </p:ext>
    </p:extLst>
  </p:cSld>
  <p:clrMapOvr>
    <a:masterClrMapping/>
  </p:clrMapOvr>
  <p:transition/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/>
          <p:cNvSpPr/>
          <p:nvPr userDrawn="1"/>
        </p:nvSpPr>
        <p:spPr bwMode="gray">
          <a:xfrm>
            <a:off x="0" y="4313786"/>
            <a:ext cx="12192000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28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1779490" y="960120"/>
            <a:ext cx="9899748" cy="1584040"/>
          </a:xfrm>
          <a:noFill/>
        </p:spPr>
        <p:txBody>
          <a:bodyPr lIns="0" tIns="0" rIns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9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1779490" y="3310197"/>
            <a:ext cx="9899748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1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32" name="Text Placeholder 3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779490" y="4588235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insert Author’s Name</a:t>
            </a:r>
          </a:p>
        </p:txBody>
      </p:sp>
      <p:sp>
        <p:nvSpPr>
          <p:cNvPr id="33" name="Text Placeholder 3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779490" y="4840064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insert Role in Organisation</a:t>
            </a:r>
          </a:p>
        </p:txBody>
      </p:sp>
      <p:sp>
        <p:nvSpPr>
          <p:cNvPr id="2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Rectangle 18"/>
          <p:cNvSpPr/>
          <p:nvPr userDrawn="1"/>
        </p:nvSpPr>
        <p:spPr bwMode="gray">
          <a:xfrm>
            <a:off x="1778011" y="761999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600">
              <a:solidFill>
                <a:schemeClr val="tx1"/>
              </a:solidFill>
            </a:endParaRPr>
          </a:p>
        </p:txBody>
      </p:sp>
      <p:pic>
        <p:nvPicPr>
          <p:cNvPr id="20" name="Picture 19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1" y="645968"/>
            <a:ext cx="1524000" cy="1524000"/>
          </a:xfrm>
          <a:prstGeom prst="rect">
            <a:avLst/>
          </a:prstGeom>
        </p:spPr>
      </p:pic>
      <p:sp>
        <p:nvSpPr>
          <p:cNvPr id="8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9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321196094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24" userDrawn="1">
          <p15:clr>
            <a:srgbClr val="FBAE40"/>
          </p15:clr>
        </p15:guide>
        <p15:guide id="4" pos="7356" userDrawn="1">
          <p15:clr>
            <a:srgbClr val="FBAE40"/>
          </p15:clr>
        </p15:guide>
        <p15:guide id="5" pos="1122" userDrawn="1">
          <p15:clr>
            <a:srgbClr val="FBAE40"/>
          </p15:clr>
        </p15:guide>
        <p15:guide id="6" orient="horz" pos="407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 bwMode="gray">
          <a:xfrm>
            <a:off x="5" y="4313786"/>
            <a:ext cx="12191998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2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79490" y="960122"/>
            <a:ext cx="9899748" cy="1584041"/>
          </a:xfrm>
          <a:noFill/>
        </p:spPr>
        <p:txBody>
          <a:bodyPr lIns="0" tIns="0" rIns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79494" y="3310197"/>
            <a:ext cx="4831323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1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2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1779493" y="4588235"/>
            <a:ext cx="4870924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insert Author’s Name</a:t>
            </a:r>
          </a:p>
        </p:txBody>
      </p:sp>
      <p:sp>
        <p:nvSpPr>
          <p:cNvPr id="23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779493" y="4840065"/>
            <a:ext cx="4870924" cy="489785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insert Role in Organisation</a:t>
            </a:r>
          </a:p>
        </p:txBody>
      </p:sp>
      <p:sp>
        <p:nvSpPr>
          <p:cNvPr id="3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6" name="Rectangle 35"/>
          <p:cNvSpPr/>
          <p:nvPr userDrawn="1"/>
        </p:nvSpPr>
        <p:spPr bwMode="gray">
          <a:xfrm>
            <a:off x="1778011" y="761999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600">
              <a:solidFill>
                <a:schemeClr val="tx1"/>
              </a:solidFill>
            </a:endParaRPr>
          </a:p>
        </p:txBody>
      </p:sp>
      <p:pic>
        <p:nvPicPr>
          <p:cNvPr id="37" name="Picture 36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1" y="645968"/>
            <a:ext cx="1524000" cy="1524000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 userDrawn="1">
            <p:ph type="pic" sz="quarter" idx="12"/>
          </p:nvPr>
        </p:nvSpPr>
        <p:spPr>
          <a:xfrm>
            <a:off x="6848418" y="2795385"/>
            <a:ext cx="4830820" cy="3049484"/>
          </a:xfrm>
        </p:spPr>
        <p:txBody>
          <a:bodyPr/>
          <a:lstStyle>
            <a:lvl1pPr>
              <a:defRPr sz="2133"/>
            </a:lvl1pPr>
          </a:lstStyle>
          <a:p>
            <a:endParaRPr lang="en-GB"/>
          </a:p>
        </p:txBody>
      </p:sp>
      <p:sp>
        <p:nvSpPr>
          <p:cNvPr id="112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201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Date Month 2016</a:t>
            </a:r>
          </a:p>
        </p:txBody>
      </p:sp>
      <p:sp>
        <p:nvSpPr>
          <p:cNvPr id="1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9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1211546904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8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image" Target="../media/image1.emf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theme" Target="../theme/theme1.x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tags" Target="../tags/tag28.xml"/><Relationship Id="rId18" Type="http://schemas.openxmlformats.org/officeDocument/2006/relationships/tags" Target="../tags/tag33.xml"/><Relationship Id="rId3" Type="http://schemas.openxmlformats.org/officeDocument/2006/relationships/slideLayout" Target="../slideLayouts/slideLayout6.xml"/><Relationship Id="rId21" Type="http://schemas.openxmlformats.org/officeDocument/2006/relationships/tags" Target="../tags/tag36.xml"/><Relationship Id="rId7" Type="http://schemas.openxmlformats.org/officeDocument/2006/relationships/tags" Target="../tags/tag22.xml"/><Relationship Id="rId12" Type="http://schemas.openxmlformats.org/officeDocument/2006/relationships/tags" Target="../tags/tag27.xml"/><Relationship Id="rId17" Type="http://schemas.openxmlformats.org/officeDocument/2006/relationships/tags" Target="../tags/tag32.xml"/><Relationship Id="rId2" Type="http://schemas.openxmlformats.org/officeDocument/2006/relationships/slideLayout" Target="../slideLayouts/slideLayout5.xml"/><Relationship Id="rId16" Type="http://schemas.openxmlformats.org/officeDocument/2006/relationships/tags" Target="../tags/tag31.xml"/><Relationship Id="rId20" Type="http://schemas.openxmlformats.org/officeDocument/2006/relationships/tags" Target="../tags/tag35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21.xml"/><Relationship Id="rId11" Type="http://schemas.openxmlformats.org/officeDocument/2006/relationships/tags" Target="../tags/tag26.xml"/><Relationship Id="rId24" Type="http://schemas.openxmlformats.org/officeDocument/2006/relationships/image" Target="../media/image1.emf"/><Relationship Id="rId5" Type="http://schemas.openxmlformats.org/officeDocument/2006/relationships/theme" Target="../theme/theme2.xml"/><Relationship Id="rId15" Type="http://schemas.openxmlformats.org/officeDocument/2006/relationships/tags" Target="../tags/tag30.xml"/><Relationship Id="rId23" Type="http://schemas.openxmlformats.org/officeDocument/2006/relationships/oleObject" Target="../embeddings/oleObject4.bin"/><Relationship Id="rId10" Type="http://schemas.openxmlformats.org/officeDocument/2006/relationships/tags" Target="../tags/tag25.xml"/><Relationship Id="rId19" Type="http://schemas.openxmlformats.org/officeDocument/2006/relationships/tags" Target="../tags/tag34.xml"/><Relationship Id="rId4" Type="http://schemas.openxmlformats.org/officeDocument/2006/relationships/slideLayout" Target="../slideLayouts/slideLayout7.xml"/><Relationship Id="rId9" Type="http://schemas.openxmlformats.org/officeDocument/2006/relationships/tags" Target="../tags/tag24.xml"/><Relationship Id="rId14" Type="http://schemas.openxmlformats.org/officeDocument/2006/relationships/tags" Target="../tags/tag29.xml"/><Relationship Id="rId22" Type="http://schemas.openxmlformats.org/officeDocument/2006/relationships/tags" Target="../tags/tag3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20.xml"/><Relationship Id="rId1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0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17" Type="http://schemas.openxmlformats.org/officeDocument/2006/relationships/slideLayout" Target="../slideLayouts/slideLayout24.xml"/><Relationship Id="rId25" Type="http://schemas.openxmlformats.org/officeDocument/2006/relationships/image" Target="../media/image5.emf"/><Relationship Id="rId2" Type="http://schemas.openxmlformats.org/officeDocument/2006/relationships/slideLayout" Target="../slideLayouts/slideLayout9.xml"/><Relationship Id="rId16" Type="http://schemas.openxmlformats.org/officeDocument/2006/relationships/slideLayout" Target="../slideLayouts/slideLayout23.xml"/><Relationship Id="rId20" Type="http://schemas.openxmlformats.org/officeDocument/2006/relationships/slideLayout" Target="../slideLayouts/slideLayout27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24" Type="http://schemas.openxmlformats.org/officeDocument/2006/relationships/oleObject" Target="../embeddings/oleObject7.bin"/><Relationship Id="rId5" Type="http://schemas.openxmlformats.org/officeDocument/2006/relationships/slideLayout" Target="../slideLayouts/slideLayout12.xml"/><Relationship Id="rId15" Type="http://schemas.openxmlformats.org/officeDocument/2006/relationships/slideLayout" Target="../slideLayouts/slideLayout22.xml"/><Relationship Id="rId23" Type="http://schemas.openxmlformats.org/officeDocument/2006/relationships/tags" Target="../tags/tag41.xml"/><Relationship Id="rId10" Type="http://schemas.openxmlformats.org/officeDocument/2006/relationships/slideLayout" Target="../slideLayouts/slideLayout17.xml"/><Relationship Id="rId19" Type="http://schemas.openxmlformats.org/officeDocument/2006/relationships/slideLayout" Target="../slideLayouts/slideLayout26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21.xml"/><Relationship Id="rId22" Type="http://schemas.openxmlformats.org/officeDocument/2006/relationships/tags" Target="../tags/tag4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072276188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624751" y="37255"/>
            <a:ext cx="894153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49"/>
            <a:endParaRPr lang="en-US" sz="800" baseline="0" noProof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69490" y="2825008"/>
            <a:ext cx="5853024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508011" y="623131"/>
            <a:ext cx="11188690" cy="3386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508013" y="290022"/>
            <a:ext cx="61875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 baseline="0" noProof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508011" y="993245"/>
            <a:ext cx="1118869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3169490" y="2251620"/>
            <a:ext cx="5853024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" name="Slide Elements" hidden="1"/>
          <p:cNvGrpSpPr>
            <a:grpSpLocks/>
          </p:cNvGrpSpPr>
          <p:nvPr userDrawn="1"/>
        </p:nvGrpSpPr>
        <p:grpSpPr bwMode="auto">
          <a:xfrm>
            <a:off x="508011" y="6471316"/>
            <a:ext cx="11188690" cy="300883"/>
            <a:chOff x="172517" y="5852056"/>
            <a:chExt cx="8796540" cy="300883"/>
          </a:xfrm>
        </p:grpSpPr>
        <p:sp>
          <p:nvSpPr>
            <p:cNvPr id="64" name="4. Footnote"/>
            <p:cNvSpPr txBox="1">
              <a:spLocks noChangeArrowheads="1"/>
            </p:cNvSpPr>
            <p:nvPr/>
          </p:nvSpPr>
          <p:spPr bwMode="auto">
            <a:xfrm>
              <a:off x="172517" y="5852056"/>
              <a:ext cx="879654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8902" indent="-88902">
                <a:defRPr/>
              </a:pPr>
              <a:r>
                <a:rPr lang="en-US" sz="800" baseline="0" noProof="0">
                  <a:latin typeface="+mn-lt"/>
                </a:rPr>
                <a:t>1 Footnote</a:t>
              </a:r>
            </a:p>
          </p:txBody>
        </p:sp>
        <p:sp>
          <p:nvSpPr>
            <p:cNvPr id="65" name="5. Source"/>
            <p:cNvSpPr>
              <a:spLocks noChangeArrowheads="1"/>
            </p:cNvSpPr>
            <p:nvPr/>
          </p:nvSpPr>
          <p:spPr bwMode="auto">
            <a:xfrm>
              <a:off x="172517" y="6029828"/>
              <a:ext cx="8252075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47672" indent="-347672" defTabSz="895373">
                <a:tabLst>
                  <a:tab pos="346083" algn="l"/>
                </a:tabLst>
              </a:pPr>
              <a:r>
                <a:rPr lang="en-US" sz="800" baseline="0" noProof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sp>
        <p:nvSpPr>
          <p:cNvPr id="66" name="Slide Number"/>
          <p:cNvSpPr txBox="1">
            <a:spLocks/>
          </p:cNvSpPr>
          <p:nvPr userDrawn="1"/>
        </p:nvSpPr>
        <p:spPr bwMode="auto">
          <a:xfrm>
            <a:off x="11566858" y="6649088"/>
            <a:ext cx="12984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/>
              <a:pPr lvl="0" algn="r"/>
              <a:t>‹#›</a:t>
            </a:fld>
            <a:endParaRPr lang="en-US" sz="800"/>
          </a:p>
        </p:txBody>
      </p:sp>
      <p:sp>
        <p:nvSpPr>
          <p:cNvPr id="74" name="Rectangle 73" descr="&lt;Shell Yellow Bar&gt;" title="&lt;Shell Yellow Bar&gt;"/>
          <p:cNvSpPr/>
          <p:nvPr userDrawn="1"/>
        </p:nvSpPr>
        <p:spPr bwMode="auto">
          <a:xfrm>
            <a:off x="508011" y="508001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600">
              <a:solidFill>
                <a:schemeClr val="tx1"/>
              </a:solidFill>
            </a:endParaRPr>
          </a:p>
        </p:txBody>
      </p:sp>
      <p:grpSp>
        <p:nvGrpSpPr>
          <p:cNvPr id="93" name="LegendBoxes" hidden="1"/>
          <p:cNvGrpSpPr/>
          <p:nvPr userDrawn="1"/>
        </p:nvGrpSpPr>
        <p:grpSpPr bwMode="auto">
          <a:xfrm>
            <a:off x="10982655" y="674086"/>
            <a:ext cx="714062" cy="997467"/>
            <a:chOff x="7835905" y="279400"/>
            <a:chExt cx="714062" cy="997467"/>
          </a:xfrm>
        </p:grpSpPr>
        <p:sp>
          <p:nvSpPr>
            <p:cNvPr id="94" name="RectangleLegend1"/>
            <p:cNvSpPr>
              <a:spLocks noChangeArrowheads="1"/>
            </p:cNvSpPr>
            <p:nvPr/>
          </p:nvSpPr>
          <p:spPr bwMode="auto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600" baseline="0">
                <a:latin typeface="+mn-lt"/>
                <a:ea typeface="+mn-ea"/>
              </a:endParaRPr>
            </a:p>
          </p:txBody>
        </p:sp>
        <p:sp>
          <p:nvSpPr>
            <p:cNvPr id="95" name="RectangleLegend2"/>
            <p:cNvSpPr>
              <a:spLocks noChangeArrowheads="1"/>
            </p:cNvSpPr>
            <p:nvPr/>
          </p:nvSpPr>
          <p:spPr bwMode="auto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600" baseline="0">
                <a:latin typeface="+mn-lt"/>
                <a:ea typeface="+mn-ea"/>
              </a:endParaRPr>
            </a:p>
          </p:txBody>
        </p:sp>
        <p:sp>
          <p:nvSpPr>
            <p:cNvPr id="96" name="RectangleLegend3"/>
            <p:cNvSpPr>
              <a:spLocks noChangeArrowheads="1"/>
            </p:cNvSpPr>
            <p:nvPr/>
          </p:nvSpPr>
          <p:spPr bwMode="auto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600" baseline="0">
                <a:latin typeface="+mn-lt"/>
                <a:ea typeface="+mn-ea"/>
              </a:endParaRPr>
            </a:p>
          </p:txBody>
        </p:sp>
        <p:sp>
          <p:nvSpPr>
            <p:cNvPr id="97" name="RectangleLegend4"/>
            <p:cNvSpPr>
              <a:spLocks noChangeArrowheads="1"/>
            </p:cNvSpPr>
            <p:nvPr/>
          </p:nvSpPr>
          <p:spPr bwMode="auto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600" baseline="0">
                <a:latin typeface="+mn-lt"/>
                <a:ea typeface="+mn-ea"/>
              </a:endParaRPr>
            </a:p>
          </p:txBody>
        </p:sp>
        <p:sp>
          <p:nvSpPr>
            <p:cNvPr id="98" name="Legend1"/>
            <p:cNvSpPr>
              <a:spLocks noChangeArrowheads="1"/>
            </p:cNvSpPr>
            <p:nvPr/>
          </p:nvSpPr>
          <p:spPr bwMode="auto">
            <a:xfrm>
              <a:off x="8089905" y="2794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73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9" name="Legend2"/>
            <p:cNvSpPr>
              <a:spLocks noChangeArrowheads="1"/>
            </p:cNvSpPr>
            <p:nvPr/>
          </p:nvSpPr>
          <p:spPr bwMode="auto">
            <a:xfrm>
              <a:off x="8089905" y="54927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73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0" name="Legend3"/>
            <p:cNvSpPr>
              <a:spLocks noChangeArrowheads="1"/>
            </p:cNvSpPr>
            <p:nvPr/>
          </p:nvSpPr>
          <p:spPr bwMode="auto">
            <a:xfrm>
              <a:off x="8089905" y="820738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73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4"/>
            <p:cNvSpPr>
              <a:spLocks noChangeArrowheads="1"/>
            </p:cNvSpPr>
            <p:nvPr/>
          </p:nvSpPr>
          <p:spPr bwMode="auto">
            <a:xfrm>
              <a:off x="8089905" y="1092201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73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2" name="LegendLines" hidden="1"/>
          <p:cNvGrpSpPr/>
          <p:nvPr userDrawn="1"/>
        </p:nvGrpSpPr>
        <p:grpSpPr bwMode="auto">
          <a:xfrm>
            <a:off x="10674673" y="674085"/>
            <a:ext cx="1022037" cy="730767"/>
            <a:chOff x="7540629" y="279400"/>
            <a:chExt cx="1022037" cy="730767"/>
          </a:xfrm>
        </p:grpSpPr>
        <p:sp>
          <p:nvSpPr>
            <p:cNvPr id="103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600" baseline="0">
                <a:latin typeface="+mn-lt"/>
                <a:ea typeface="+mn-ea"/>
              </a:endParaRPr>
            </a:p>
          </p:txBody>
        </p:sp>
        <p:sp>
          <p:nvSpPr>
            <p:cNvPr id="104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600" baseline="0">
                <a:latin typeface="+mn-lt"/>
                <a:ea typeface="+mn-ea"/>
              </a:endParaRPr>
            </a:p>
          </p:txBody>
        </p:sp>
        <p:sp>
          <p:nvSpPr>
            <p:cNvPr id="105" name="LineLegend3"/>
            <p:cNvSpPr>
              <a:spLocks noChangeShapeType="1"/>
            </p:cNvSpPr>
            <p:nvPr/>
          </p:nvSpPr>
          <p:spPr bwMode="auto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600" baseline="0">
                <a:latin typeface="+mn-lt"/>
                <a:ea typeface="+mn-ea"/>
              </a:endParaRPr>
            </a:p>
          </p:txBody>
        </p:sp>
        <p:sp>
          <p:nvSpPr>
            <p:cNvPr id="106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73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7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73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8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73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9" name="LegendMoons" hidden="1"/>
          <p:cNvGrpSpPr/>
          <p:nvPr userDrawn="1"/>
        </p:nvGrpSpPr>
        <p:grpSpPr bwMode="auto">
          <a:xfrm>
            <a:off x="10915963" y="674086"/>
            <a:ext cx="780740" cy="1306517"/>
            <a:chOff x="7769225" y="250825"/>
            <a:chExt cx="780739" cy="1306516"/>
          </a:xfrm>
        </p:grpSpPr>
        <p:grpSp>
          <p:nvGrpSpPr>
            <p:cNvPr id="110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28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600" baseline="0">
                  <a:latin typeface="+mn-lt"/>
                  <a:ea typeface="+mn-ea"/>
                </a:endParaRPr>
              </a:p>
            </p:txBody>
          </p:sp>
          <p:sp>
            <p:nvSpPr>
              <p:cNvPr id="129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600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1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26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600" baseline="0">
                  <a:latin typeface="+mn-lt"/>
                  <a:ea typeface="+mn-ea"/>
                </a:endParaRPr>
              </a:p>
            </p:txBody>
          </p:sp>
          <p:sp>
            <p:nvSpPr>
              <p:cNvPr id="127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600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2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24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600" baseline="0">
                  <a:latin typeface="+mn-lt"/>
                  <a:ea typeface="+mn-ea"/>
                </a:endParaRPr>
              </a:p>
            </p:txBody>
          </p:sp>
          <p:sp>
            <p:nvSpPr>
              <p:cNvPr id="125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600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3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22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600" baseline="0">
                  <a:latin typeface="+mn-lt"/>
                  <a:ea typeface="+mn-ea"/>
                </a:endParaRPr>
              </a:p>
            </p:txBody>
          </p:sp>
          <p:sp>
            <p:nvSpPr>
              <p:cNvPr id="123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600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20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600" baseline="0">
                  <a:latin typeface="+mn-lt"/>
                  <a:ea typeface="+mn-ea"/>
                </a:endParaRPr>
              </a:p>
            </p:txBody>
          </p:sp>
          <p:sp>
            <p:nvSpPr>
              <p:cNvPr id="121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600" baseline="0">
                  <a:latin typeface="+mn-lt"/>
                  <a:ea typeface="+mn-ea"/>
                </a:endParaRPr>
              </a:p>
            </p:txBody>
          </p:sp>
        </p:grpSp>
        <p:sp>
          <p:nvSpPr>
            <p:cNvPr id="115" name="Legend1"/>
            <p:cNvSpPr>
              <a:spLocks noChangeArrowheads="1"/>
            </p:cNvSpPr>
            <p:nvPr/>
          </p:nvSpPr>
          <p:spPr bwMode="auto">
            <a:xfrm>
              <a:off x="8089902" y="26352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73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6" name="Legend2"/>
            <p:cNvSpPr>
              <a:spLocks noChangeArrowheads="1"/>
            </p:cNvSpPr>
            <p:nvPr/>
          </p:nvSpPr>
          <p:spPr bwMode="auto">
            <a:xfrm>
              <a:off x="8089902" y="538163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73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7" name="Legend3"/>
            <p:cNvSpPr>
              <a:spLocks noChangeArrowheads="1"/>
            </p:cNvSpPr>
            <p:nvPr/>
          </p:nvSpPr>
          <p:spPr bwMode="auto">
            <a:xfrm>
              <a:off x="8089902" y="812802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73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8" name="Legend4"/>
            <p:cNvSpPr>
              <a:spLocks noChangeArrowheads="1"/>
            </p:cNvSpPr>
            <p:nvPr/>
          </p:nvSpPr>
          <p:spPr bwMode="auto">
            <a:xfrm>
              <a:off x="8089902" y="108426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73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5"/>
            <p:cNvSpPr>
              <a:spLocks noChangeArrowheads="1"/>
            </p:cNvSpPr>
            <p:nvPr/>
          </p:nvSpPr>
          <p:spPr bwMode="auto">
            <a:xfrm>
              <a:off x="8089902" y="136049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73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5" name="McKSticker" hidden="1"/>
          <p:cNvGrpSpPr/>
          <p:nvPr userDrawn="1"/>
        </p:nvGrpSpPr>
        <p:grpSpPr bwMode="auto">
          <a:xfrm>
            <a:off x="11306700" y="739933"/>
            <a:ext cx="389979" cy="150811"/>
            <a:chOff x="8350794" y="285750"/>
            <a:chExt cx="389981" cy="150810"/>
          </a:xfrm>
        </p:grpSpPr>
        <p:sp>
          <p:nvSpPr>
            <p:cNvPr id="76" name="StickerRectangle"/>
            <p:cNvSpPr>
              <a:spLocks noChangeArrowheads="1"/>
            </p:cNvSpPr>
            <p:nvPr/>
          </p:nvSpPr>
          <p:spPr bwMode="auto">
            <a:xfrm>
              <a:off x="8350794" y="285750"/>
              <a:ext cx="389981" cy="15081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73">
                <a:buClr>
                  <a:srgbClr val="002960"/>
                </a:buClr>
              </a:pPr>
              <a:r>
                <a:rPr lang="en-GB" sz="800" baseline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77" name="AutoShape 31"/>
            <p:cNvCxnSpPr>
              <a:cxnSpLocks noChangeShapeType="1"/>
              <a:stCxn id="76" idx="2"/>
              <a:endCxn id="76" idx="4"/>
            </p:cNvCxnSpPr>
            <p:nvPr/>
          </p:nvCxnSpPr>
          <p:spPr bwMode="auto">
            <a:xfrm>
              <a:off x="8350794" y="285750"/>
              <a:ext cx="0" cy="15081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" name="AutoShape 32"/>
            <p:cNvCxnSpPr>
              <a:cxnSpLocks noChangeShapeType="1"/>
              <a:stCxn id="76" idx="4"/>
              <a:endCxn id="76" idx="6"/>
            </p:cNvCxnSpPr>
            <p:nvPr/>
          </p:nvCxnSpPr>
          <p:spPr bwMode="auto">
            <a:xfrm>
              <a:off x="8350794" y="436560"/>
              <a:ext cx="389981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30" name="Moon" hidden="1"/>
          <p:cNvGrpSpPr/>
          <p:nvPr userDrawn="1">
            <p:custDataLst>
              <p:tags r:id="rId6"/>
            </p:custDataLst>
          </p:nvPr>
        </p:nvGrpSpPr>
        <p:grpSpPr bwMode="auto">
          <a:xfrm>
            <a:off x="10200972" y="1404853"/>
            <a:ext cx="254000" cy="254000"/>
            <a:chOff x="762000" y="1270000"/>
            <a:chExt cx="254000" cy="254000"/>
          </a:xfrm>
        </p:grpSpPr>
        <p:sp>
          <p:nvSpPr>
            <p:cNvPr id="131" name="Oval 130"/>
            <p:cNvSpPr/>
            <p:nvPr/>
          </p:nvSpPr>
          <p:spPr bwMode="auto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132" name="Arc 131"/>
            <p:cNvSpPr/>
            <p:nvPr/>
          </p:nvSpPr>
          <p:spPr bwMode="auto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2"/>
            </a:solidFill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</p:sldLayoutIdLst>
  <p:hf hdr="0" ftr="0" dt="0"/>
  <p:txStyles>
    <p:titleStyle>
      <a:lvl1pPr algn="l" defTabSz="913549" rtl="0" eaLnBrk="1" fontAlgn="base" hangingPunct="1">
        <a:spcBef>
          <a:spcPct val="0"/>
        </a:spcBef>
        <a:spcAft>
          <a:spcPct val="0"/>
        </a:spcAft>
        <a:tabLst>
          <a:tab pos="275360" algn="l"/>
        </a:tabLst>
        <a:defRPr sz="2201" b="1" baseline="0">
          <a:solidFill>
            <a:schemeClr val="tx1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35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93" algn="l" defTabSz="9135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86" algn="l" defTabSz="9135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79" algn="l" defTabSz="9135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72" algn="l" defTabSz="9135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4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7613" indent="-195992" algn="l" defTabSz="91354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66493" indent="-267262" algn="l" defTabSz="91354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6851" indent="-158736" algn="l" defTabSz="91354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65048" indent="-132821" algn="l" defTabSz="91354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5048" indent="-132821" algn="l" defTabSz="91354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48" indent="-132821" algn="l" defTabSz="91354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48" indent="-132821" algn="l" defTabSz="91354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48" indent="-132821" algn="l" defTabSz="91354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8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66493" algn="l" defTabSz="93298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32986" algn="l" defTabSz="93298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99479" algn="l" defTabSz="93298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65972" algn="l" defTabSz="93298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332465" algn="l" defTabSz="93298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98958" algn="l" defTabSz="93298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65451" algn="l" defTabSz="93298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731944" algn="l" defTabSz="93298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2" userDrawn="1">
          <p15:clr>
            <a:srgbClr val="F26B43"/>
          </p15:clr>
        </p15:guide>
        <p15:guide id="2" pos="313" userDrawn="1">
          <p15:clr>
            <a:srgbClr val="F26B43"/>
          </p15:clr>
        </p15:guide>
        <p15:guide id="3" pos="7369" userDrawn="1">
          <p15:clr>
            <a:srgbClr val="F26B43"/>
          </p15:clr>
        </p15:guide>
        <p15:guide id="4" orient="horz" pos="424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6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624751" y="37255"/>
            <a:ext cx="894153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49"/>
            <a:endParaRPr lang="en-US" sz="800" baseline="0" noProof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69490" y="2825008"/>
            <a:ext cx="5853024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508011" y="623131"/>
            <a:ext cx="11188690" cy="3386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508013" y="290022"/>
            <a:ext cx="61875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 baseline="0" noProof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508011" y="993245"/>
            <a:ext cx="1118869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3169490" y="2251620"/>
            <a:ext cx="5853024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" name="Slide Elements" hidden="1"/>
          <p:cNvGrpSpPr>
            <a:grpSpLocks/>
          </p:cNvGrpSpPr>
          <p:nvPr userDrawn="1"/>
        </p:nvGrpSpPr>
        <p:grpSpPr bwMode="auto">
          <a:xfrm>
            <a:off x="508011" y="6471316"/>
            <a:ext cx="11188690" cy="300883"/>
            <a:chOff x="172517" y="5852056"/>
            <a:chExt cx="8796540" cy="300883"/>
          </a:xfrm>
        </p:grpSpPr>
        <p:sp>
          <p:nvSpPr>
            <p:cNvPr id="64" name="4. Footnote"/>
            <p:cNvSpPr txBox="1">
              <a:spLocks noChangeArrowheads="1"/>
            </p:cNvSpPr>
            <p:nvPr/>
          </p:nvSpPr>
          <p:spPr bwMode="auto">
            <a:xfrm>
              <a:off x="172517" y="5852056"/>
              <a:ext cx="879654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8902" indent="-88902">
                <a:defRPr/>
              </a:pPr>
              <a:r>
                <a:rPr lang="en-US" sz="800" baseline="0" noProof="0">
                  <a:latin typeface="+mn-lt"/>
                </a:rPr>
                <a:t>1 Footnote</a:t>
              </a:r>
            </a:p>
          </p:txBody>
        </p:sp>
        <p:sp>
          <p:nvSpPr>
            <p:cNvPr id="65" name="5. Source"/>
            <p:cNvSpPr>
              <a:spLocks noChangeArrowheads="1"/>
            </p:cNvSpPr>
            <p:nvPr/>
          </p:nvSpPr>
          <p:spPr bwMode="auto">
            <a:xfrm>
              <a:off x="172517" y="6029828"/>
              <a:ext cx="8252075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47672" indent="-347672" defTabSz="895373">
                <a:tabLst>
                  <a:tab pos="346083" algn="l"/>
                </a:tabLst>
              </a:pPr>
              <a:r>
                <a:rPr lang="en-US" sz="800" baseline="0" noProof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sp>
        <p:nvSpPr>
          <p:cNvPr id="66" name="Slide Number"/>
          <p:cNvSpPr txBox="1">
            <a:spLocks/>
          </p:cNvSpPr>
          <p:nvPr userDrawn="1"/>
        </p:nvSpPr>
        <p:spPr bwMode="auto">
          <a:xfrm>
            <a:off x="11566858" y="6649088"/>
            <a:ext cx="12984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/>
              <a:pPr lvl="0" algn="r"/>
              <a:t>‹#›</a:t>
            </a:fld>
            <a:endParaRPr lang="en-US" sz="800"/>
          </a:p>
        </p:txBody>
      </p:sp>
      <p:sp>
        <p:nvSpPr>
          <p:cNvPr id="74" name="Rectangle 73" descr="&lt;Shell Yellow Bar&gt;" title="&lt;Shell Yellow Bar&gt;"/>
          <p:cNvSpPr/>
          <p:nvPr userDrawn="1"/>
        </p:nvSpPr>
        <p:spPr bwMode="auto">
          <a:xfrm>
            <a:off x="508011" y="508001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600">
              <a:solidFill>
                <a:schemeClr val="tx1"/>
              </a:solidFill>
            </a:endParaRPr>
          </a:p>
        </p:txBody>
      </p:sp>
      <p:grpSp>
        <p:nvGrpSpPr>
          <p:cNvPr id="93" name="LegendBoxes" hidden="1"/>
          <p:cNvGrpSpPr/>
          <p:nvPr userDrawn="1"/>
        </p:nvGrpSpPr>
        <p:grpSpPr bwMode="auto">
          <a:xfrm>
            <a:off x="10982655" y="674086"/>
            <a:ext cx="714062" cy="997467"/>
            <a:chOff x="7835905" y="279400"/>
            <a:chExt cx="714062" cy="997467"/>
          </a:xfrm>
        </p:grpSpPr>
        <p:sp>
          <p:nvSpPr>
            <p:cNvPr id="94" name="RectangleLegend1"/>
            <p:cNvSpPr>
              <a:spLocks noChangeArrowheads="1"/>
            </p:cNvSpPr>
            <p:nvPr/>
          </p:nvSpPr>
          <p:spPr bwMode="auto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600" baseline="0">
                <a:latin typeface="+mn-lt"/>
                <a:ea typeface="+mn-ea"/>
              </a:endParaRPr>
            </a:p>
          </p:txBody>
        </p:sp>
        <p:sp>
          <p:nvSpPr>
            <p:cNvPr id="95" name="RectangleLegend2"/>
            <p:cNvSpPr>
              <a:spLocks noChangeArrowheads="1"/>
            </p:cNvSpPr>
            <p:nvPr/>
          </p:nvSpPr>
          <p:spPr bwMode="auto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600" baseline="0">
                <a:latin typeface="+mn-lt"/>
                <a:ea typeface="+mn-ea"/>
              </a:endParaRPr>
            </a:p>
          </p:txBody>
        </p:sp>
        <p:sp>
          <p:nvSpPr>
            <p:cNvPr id="96" name="RectangleLegend3"/>
            <p:cNvSpPr>
              <a:spLocks noChangeArrowheads="1"/>
            </p:cNvSpPr>
            <p:nvPr/>
          </p:nvSpPr>
          <p:spPr bwMode="auto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600" baseline="0">
                <a:latin typeface="+mn-lt"/>
                <a:ea typeface="+mn-ea"/>
              </a:endParaRPr>
            </a:p>
          </p:txBody>
        </p:sp>
        <p:sp>
          <p:nvSpPr>
            <p:cNvPr id="97" name="RectangleLegend4"/>
            <p:cNvSpPr>
              <a:spLocks noChangeArrowheads="1"/>
            </p:cNvSpPr>
            <p:nvPr/>
          </p:nvSpPr>
          <p:spPr bwMode="auto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600" baseline="0">
                <a:latin typeface="+mn-lt"/>
                <a:ea typeface="+mn-ea"/>
              </a:endParaRPr>
            </a:p>
          </p:txBody>
        </p:sp>
        <p:sp>
          <p:nvSpPr>
            <p:cNvPr id="98" name="Legend1"/>
            <p:cNvSpPr>
              <a:spLocks noChangeArrowheads="1"/>
            </p:cNvSpPr>
            <p:nvPr/>
          </p:nvSpPr>
          <p:spPr bwMode="auto">
            <a:xfrm>
              <a:off x="8089905" y="2794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73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9" name="Legend2"/>
            <p:cNvSpPr>
              <a:spLocks noChangeArrowheads="1"/>
            </p:cNvSpPr>
            <p:nvPr/>
          </p:nvSpPr>
          <p:spPr bwMode="auto">
            <a:xfrm>
              <a:off x="8089905" y="54927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73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0" name="Legend3"/>
            <p:cNvSpPr>
              <a:spLocks noChangeArrowheads="1"/>
            </p:cNvSpPr>
            <p:nvPr/>
          </p:nvSpPr>
          <p:spPr bwMode="auto">
            <a:xfrm>
              <a:off x="8089905" y="820738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73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4"/>
            <p:cNvSpPr>
              <a:spLocks noChangeArrowheads="1"/>
            </p:cNvSpPr>
            <p:nvPr/>
          </p:nvSpPr>
          <p:spPr bwMode="auto">
            <a:xfrm>
              <a:off x="8089905" y="1092201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73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2" name="LegendLines" hidden="1"/>
          <p:cNvGrpSpPr/>
          <p:nvPr userDrawn="1"/>
        </p:nvGrpSpPr>
        <p:grpSpPr bwMode="auto">
          <a:xfrm>
            <a:off x="10674673" y="674085"/>
            <a:ext cx="1022037" cy="730767"/>
            <a:chOff x="7540629" y="279400"/>
            <a:chExt cx="1022037" cy="730767"/>
          </a:xfrm>
        </p:grpSpPr>
        <p:sp>
          <p:nvSpPr>
            <p:cNvPr id="103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600" baseline="0">
                <a:latin typeface="+mn-lt"/>
                <a:ea typeface="+mn-ea"/>
              </a:endParaRPr>
            </a:p>
          </p:txBody>
        </p:sp>
        <p:sp>
          <p:nvSpPr>
            <p:cNvPr id="104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600" baseline="0">
                <a:latin typeface="+mn-lt"/>
                <a:ea typeface="+mn-ea"/>
              </a:endParaRPr>
            </a:p>
          </p:txBody>
        </p:sp>
        <p:sp>
          <p:nvSpPr>
            <p:cNvPr id="105" name="LineLegend3"/>
            <p:cNvSpPr>
              <a:spLocks noChangeShapeType="1"/>
            </p:cNvSpPr>
            <p:nvPr/>
          </p:nvSpPr>
          <p:spPr bwMode="auto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600" baseline="0">
                <a:latin typeface="+mn-lt"/>
                <a:ea typeface="+mn-ea"/>
              </a:endParaRPr>
            </a:p>
          </p:txBody>
        </p:sp>
        <p:sp>
          <p:nvSpPr>
            <p:cNvPr id="106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73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7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73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8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73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9" name="LegendMoons" hidden="1"/>
          <p:cNvGrpSpPr/>
          <p:nvPr userDrawn="1"/>
        </p:nvGrpSpPr>
        <p:grpSpPr bwMode="auto">
          <a:xfrm>
            <a:off x="10915963" y="674086"/>
            <a:ext cx="780740" cy="1306517"/>
            <a:chOff x="7769225" y="250825"/>
            <a:chExt cx="780739" cy="1306516"/>
          </a:xfrm>
        </p:grpSpPr>
        <p:grpSp>
          <p:nvGrpSpPr>
            <p:cNvPr id="11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2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600" baseline="0">
                  <a:latin typeface="+mn-lt"/>
                  <a:ea typeface="+mn-ea"/>
                </a:endParaRPr>
              </a:p>
            </p:txBody>
          </p:sp>
          <p:sp>
            <p:nvSpPr>
              <p:cNvPr id="12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600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2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600" baseline="0">
                  <a:latin typeface="+mn-lt"/>
                  <a:ea typeface="+mn-ea"/>
                </a:endParaRPr>
              </a:p>
            </p:txBody>
          </p:sp>
          <p:sp>
            <p:nvSpPr>
              <p:cNvPr id="12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600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2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600" baseline="0">
                  <a:latin typeface="+mn-lt"/>
                  <a:ea typeface="+mn-ea"/>
                </a:endParaRPr>
              </a:p>
            </p:txBody>
          </p:sp>
          <p:sp>
            <p:nvSpPr>
              <p:cNvPr id="12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600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2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600" baseline="0">
                  <a:latin typeface="+mn-lt"/>
                  <a:ea typeface="+mn-ea"/>
                </a:endParaRPr>
              </a:p>
            </p:txBody>
          </p:sp>
          <p:sp>
            <p:nvSpPr>
              <p:cNvPr id="12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600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2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600" baseline="0">
                  <a:latin typeface="+mn-lt"/>
                  <a:ea typeface="+mn-ea"/>
                </a:endParaRPr>
              </a:p>
            </p:txBody>
          </p:sp>
          <p:sp>
            <p:nvSpPr>
              <p:cNvPr id="12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600" baseline="0">
                  <a:latin typeface="+mn-lt"/>
                  <a:ea typeface="+mn-ea"/>
                </a:endParaRPr>
              </a:p>
            </p:txBody>
          </p:sp>
        </p:grpSp>
        <p:sp>
          <p:nvSpPr>
            <p:cNvPr id="115" name="Legend1"/>
            <p:cNvSpPr>
              <a:spLocks noChangeArrowheads="1"/>
            </p:cNvSpPr>
            <p:nvPr/>
          </p:nvSpPr>
          <p:spPr bwMode="auto">
            <a:xfrm>
              <a:off x="8089902" y="26352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73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6" name="Legend2"/>
            <p:cNvSpPr>
              <a:spLocks noChangeArrowheads="1"/>
            </p:cNvSpPr>
            <p:nvPr/>
          </p:nvSpPr>
          <p:spPr bwMode="auto">
            <a:xfrm>
              <a:off x="8089902" y="538163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73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7" name="Legend3"/>
            <p:cNvSpPr>
              <a:spLocks noChangeArrowheads="1"/>
            </p:cNvSpPr>
            <p:nvPr/>
          </p:nvSpPr>
          <p:spPr bwMode="auto">
            <a:xfrm>
              <a:off x="8089902" y="812802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73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8" name="Legend4"/>
            <p:cNvSpPr>
              <a:spLocks noChangeArrowheads="1"/>
            </p:cNvSpPr>
            <p:nvPr/>
          </p:nvSpPr>
          <p:spPr bwMode="auto">
            <a:xfrm>
              <a:off x="8089902" y="108426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73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5"/>
            <p:cNvSpPr>
              <a:spLocks noChangeArrowheads="1"/>
            </p:cNvSpPr>
            <p:nvPr/>
          </p:nvSpPr>
          <p:spPr bwMode="auto">
            <a:xfrm>
              <a:off x="8089902" y="136049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73">
                <a:buClr>
                  <a:schemeClr val="tx2"/>
                </a:buClr>
              </a:pPr>
              <a:r>
                <a:rPr lang="en-GB" sz="1200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5" name="McKSticker" hidden="1"/>
          <p:cNvGrpSpPr/>
          <p:nvPr userDrawn="1"/>
        </p:nvGrpSpPr>
        <p:grpSpPr bwMode="auto">
          <a:xfrm>
            <a:off x="11306700" y="739933"/>
            <a:ext cx="389979" cy="150811"/>
            <a:chOff x="8350794" y="285750"/>
            <a:chExt cx="389981" cy="150810"/>
          </a:xfrm>
        </p:grpSpPr>
        <p:sp>
          <p:nvSpPr>
            <p:cNvPr id="76" name="StickerRectangle"/>
            <p:cNvSpPr>
              <a:spLocks noChangeArrowheads="1"/>
            </p:cNvSpPr>
            <p:nvPr/>
          </p:nvSpPr>
          <p:spPr bwMode="auto">
            <a:xfrm>
              <a:off x="8350794" y="285750"/>
              <a:ext cx="389981" cy="15081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73">
                <a:buClr>
                  <a:srgbClr val="002960"/>
                </a:buClr>
              </a:pPr>
              <a:r>
                <a:rPr lang="en-GB" sz="800" baseline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77" name="AutoShape 31"/>
            <p:cNvCxnSpPr>
              <a:cxnSpLocks noChangeShapeType="1"/>
              <a:stCxn id="76" idx="2"/>
              <a:endCxn id="76" idx="4"/>
            </p:cNvCxnSpPr>
            <p:nvPr/>
          </p:nvCxnSpPr>
          <p:spPr bwMode="auto">
            <a:xfrm>
              <a:off x="8350794" y="285750"/>
              <a:ext cx="0" cy="15081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" name="AutoShape 32"/>
            <p:cNvCxnSpPr>
              <a:cxnSpLocks noChangeShapeType="1"/>
              <a:stCxn id="76" idx="4"/>
              <a:endCxn id="76" idx="6"/>
            </p:cNvCxnSpPr>
            <p:nvPr/>
          </p:nvCxnSpPr>
          <p:spPr bwMode="auto">
            <a:xfrm>
              <a:off x="8350794" y="436560"/>
              <a:ext cx="389981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30" name="Moon" hidden="1"/>
          <p:cNvGrpSpPr/>
          <p:nvPr userDrawn="1">
            <p:custDataLst>
              <p:tags r:id="rId7"/>
            </p:custDataLst>
          </p:nvPr>
        </p:nvGrpSpPr>
        <p:grpSpPr bwMode="auto">
          <a:xfrm>
            <a:off x="10200972" y="1404853"/>
            <a:ext cx="254000" cy="254000"/>
            <a:chOff x="762000" y="1270000"/>
            <a:chExt cx="254000" cy="254000"/>
          </a:xfrm>
        </p:grpSpPr>
        <p:sp>
          <p:nvSpPr>
            <p:cNvPr id="131" name="Oval 130"/>
            <p:cNvSpPr/>
            <p:nvPr/>
          </p:nvSpPr>
          <p:spPr bwMode="auto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132" name="Arc 131"/>
            <p:cNvSpPr/>
            <p:nvPr/>
          </p:nvSpPr>
          <p:spPr bwMode="auto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2"/>
            </a:solidFill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</p:grpSp>
    </p:spTree>
    <p:extLst>
      <p:ext uri="{BB962C8B-B14F-4D97-AF65-F5344CB8AC3E}">
        <p14:creationId xmlns:p14="http://schemas.microsoft.com/office/powerpoint/2010/main" val="12172212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</p:sldLayoutIdLst>
  <p:hf hdr="0" ftr="0" dt="0"/>
  <p:txStyles>
    <p:titleStyle>
      <a:lvl1pPr algn="l" defTabSz="913549" rtl="0" eaLnBrk="1" fontAlgn="base" hangingPunct="1">
        <a:spcBef>
          <a:spcPct val="0"/>
        </a:spcBef>
        <a:spcAft>
          <a:spcPct val="0"/>
        </a:spcAft>
        <a:tabLst>
          <a:tab pos="275360" algn="l"/>
        </a:tabLst>
        <a:defRPr sz="2201" b="1" baseline="0">
          <a:solidFill>
            <a:schemeClr val="tx1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35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93" algn="l" defTabSz="9135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86" algn="l" defTabSz="9135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79" algn="l" defTabSz="9135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72" algn="l" defTabSz="9135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4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7613" indent="-195992" algn="l" defTabSz="91354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66493" indent="-267262" algn="l" defTabSz="91354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6851" indent="-158736" algn="l" defTabSz="91354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65048" indent="-132821" algn="l" defTabSz="91354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5048" indent="-132821" algn="l" defTabSz="91354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48" indent="-132821" algn="l" defTabSz="91354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48" indent="-132821" algn="l" defTabSz="91354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48" indent="-132821" algn="l" defTabSz="91354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8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66493" algn="l" defTabSz="93298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32986" algn="l" defTabSz="93298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99479" algn="l" defTabSz="93298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65972" algn="l" defTabSz="93298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332465" algn="l" defTabSz="93298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98958" algn="l" defTabSz="93298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65451" algn="l" defTabSz="93298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731944" algn="l" defTabSz="93298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2" userDrawn="1">
          <p15:clr>
            <a:srgbClr val="F26B43"/>
          </p15:clr>
        </p15:guide>
        <p15:guide id="2" pos="313" userDrawn="1">
          <p15:clr>
            <a:srgbClr val="F26B43"/>
          </p15:clr>
        </p15:guide>
        <p15:guide id="3" pos="7369" userDrawn="1">
          <p15:clr>
            <a:srgbClr val="F26B43"/>
          </p15:clr>
        </p15:guide>
        <p15:guide id="4" orient="horz" pos="4248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8DE95BA-DC7F-438A-A8B3-A6D006448F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710575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95" imgH="396" progId="TCLayout.ActiveDocument.1">
                  <p:embed/>
                </p:oleObj>
              </mc:Choice>
              <mc:Fallback>
                <p:oleObj name="think-cell Slide" r:id="rId2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8DE95BA-DC7F-438A-A8B3-A6D006448F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16B2070-B458-4BF5-AC86-CA851D295AE8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400" b="0" i="0" baseline="0">
              <a:latin typeface="Futura Bold" panose="00000900000000000000" pitchFamily="2" charset="0"/>
              <a:ea typeface="+mj-ea"/>
              <a:cs typeface="+mj-cs"/>
              <a:sym typeface="Futura Bold" panose="00000900000000000000" pitchFamily="2" charset="0"/>
            </a:endParaRPr>
          </a:p>
        </p:txBody>
      </p:sp>
      <p:sp>
        <p:nvSpPr>
          <p:cNvPr id="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3" y="1528763"/>
            <a:ext cx="11171237" cy="48307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</p:txBody>
      </p:sp>
      <p:sp>
        <p:nvSpPr>
          <p:cNvPr id="1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3" y="712802"/>
            <a:ext cx="11171237" cy="7540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508011" y="508001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600">
              <a:solidFill>
                <a:schemeClr val="tx1"/>
              </a:solidFill>
            </a:endParaRPr>
          </a:p>
        </p:txBody>
      </p:sp>
      <p:sp>
        <p:nvSpPr>
          <p:cNvPr id="8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9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Footer </a:t>
            </a:r>
          </a:p>
        </p:txBody>
      </p:sp>
      <p:sp>
        <p:nvSpPr>
          <p:cNvPr id="83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201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26 January 2017</a:t>
            </a:r>
          </a:p>
        </p:txBody>
      </p:sp>
      <p:sp>
        <p:nvSpPr>
          <p:cNvPr id="8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4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60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>
                <a:solidFill>
                  <a:schemeClr val="tx1"/>
                </a:solidFill>
                <a:latin typeface="+mn-lt"/>
                <a:cs typeface="Arial" pitchFamily="34" charset="0"/>
              </a:rPr>
              <a:t>Shell Nigeria</a:t>
            </a:r>
          </a:p>
        </p:txBody>
      </p:sp>
    </p:spTree>
    <p:extLst>
      <p:ext uri="{BB962C8B-B14F-4D97-AF65-F5344CB8AC3E}">
        <p14:creationId xmlns:p14="http://schemas.microsoft.com/office/powerpoint/2010/main" val="42677672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</p:sldLayoutIdLst>
  <p:transition>
    <p:fade/>
  </p:transition>
  <p:hf hdr="0"/>
  <p:txStyles>
    <p:titleStyle>
      <a:lvl1pPr algn="l" defTabSz="1219201" rtl="0" eaLnBrk="1" latinLnBrk="0" hangingPunct="1">
        <a:lnSpc>
          <a:spcPct val="100000"/>
        </a:lnSpc>
        <a:spcBef>
          <a:spcPct val="0"/>
        </a:spcBef>
        <a:buNone/>
        <a:defRPr sz="2400" b="0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357716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None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76233" indent="-276233" algn="l" defTabSz="357716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Char char="n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522302" indent="-250832" algn="l" defTabSz="357716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755670" indent="-241306" algn="l" defTabSz="357716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2000" b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965225" indent="-212732" algn="l" defTabSz="357716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1146203" indent="-180980" algn="l" defTabSz="357716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401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62400" indent="-304800" algn="l" defTabSz="1219201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2000" indent="-304800" algn="l" defTabSz="1219201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599" indent="-304800" algn="l" defTabSz="1219201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20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01" algn="l" defTabSz="121920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01" algn="l" defTabSz="121920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00" algn="l" defTabSz="121920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400" algn="l" defTabSz="121920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001" algn="l" defTabSz="121920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601" algn="l" defTabSz="121920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200" algn="l" defTabSz="121920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801" algn="l" defTabSz="121920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pos="320" userDrawn="1">
          <p15:clr>
            <a:srgbClr val="F26B43"/>
          </p15:clr>
        </p15:guide>
        <p15:guide id="3" pos="7356" userDrawn="1">
          <p15:clr>
            <a:srgbClr val="F26B43"/>
          </p15:clr>
        </p15:guide>
        <p15:guide id="4" orient="horz" pos="460" userDrawn="1">
          <p15:clr>
            <a:srgbClr val="F26B43"/>
          </p15:clr>
        </p15:guide>
        <p15:guide id="5" orient="horz" pos="963" userDrawn="1">
          <p15:clr>
            <a:srgbClr val="F26B43"/>
          </p15:clr>
        </p15:guide>
        <p15:guide id="6" orient="horz" pos="938" userDrawn="1">
          <p15:clr>
            <a:srgbClr val="F26B43"/>
          </p15:clr>
        </p15:guide>
        <p15:guide id="7" orient="horz" pos="4071" userDrawn="1">
          <p15:clr>
            <a:srgbClr val="F26B43"/>
          </p15:clr>
        </p15:guide>
        <p15:guide id="8" orient="horz" pos="4006" userDrawn="1">
          <p15:clr>
            <a:srgbClr val="F26B43"/>
          </p15:clr>
        </p15:guide>
        <p15:guide id="9" pos="3765" userDrawn="1">
          <p15:clr>
            <a:srgbClr val="F26B43"/>
          </p15:clr>
        </p15:guide>
        <p15:guide id="10" pos="3915" userDrawn="1">
          <p15:clr>
            <a:srgbClr val="F26B43"/>
          </p15:clr>
        </p15:guide>
        <p15:guide id="11" orient="horz" pos="320" userDrawn="1">
          <p15:clr>
            <a:srgbClr val="F26B43"/>
          </p15:clr>
        </p15:guide>
        <p15:guide id="12" orient="horz" pos="368" userDrawn="1">
          <p15:clr>
            <a:srgbClr val="F26B43"/>
          </p15:clr>
        </p15:guide>
        <p15:guide id="13" pos="1122" userDrawn="1">
          <p15:clr>
            <a:srgbClr val="F26B43"/>
          </p15:clr>
        </p15:guide>
        <p15:guide id="14" orient="horz" pos="42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2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50.xml"/><Relationship Id="rId13" Type="http://schemas.openxmlformats.org/officeDocument/2006/relationships/notesSlide" Target="../notesSlides/notesSlide2.xml"/><Relationship Id="rId18" Type="http://schemas.openxmlformats.org/officeDocument/2006/relationships/image" Target="../media/image10.png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12" Type="http://schemas.openxmlformats.org/officeDocument/2006/relationships/slideLayout" Target="../slideLayouts/slideLayout2.xml"/><Relationship Id="rId17" Type="http://schemas.openxmlformats.org/officeDocument/2006/relationships/image" Target="../media/image9.png"/><Relationship Id="rId2" Type="http://schemas.openxmlformats.org/officeDocument/2006/relationships/tags" Target="../tags/tag44.xml"/><Relationship Id="rId16" Type="http://schemas.openxmlformats.org/officeDocument/2006/relationships/image" Target="../media/image8.png"/><Relationship Id="rId20" Type="http://schemas.openxmlformats.org/officeDocument/2006/relationships/image" Target="../media/image12.png"/><Relationship Id="rId1" Type="http://schemas.openxmlformats.org/officeDocument/2006/relationships/tags" Target="../tags/tag43.xml"/><Relationship Id="rId6" Type="http://schemas.openxmlformats.org/officeDocument/2006/relationships/tags" Target="../tags/tag48.xml"/><Relationship Id="rId11" Type="http://schemas.openxmlformats.org/officeDocument/2006/relationships/tags" Target="../tags/tag53.xml"/><Relationship Id="rId5" Type="http://schemas.openxmlformats.org/officeDocument/2006/relationships/tags" Target="../tags/tag47.xml"/><Relationship Id="rId15" Type="http://schemas.openxmlformats.org/officeDocument/2006/relationships/image" Target="../media/image7.emf"/><Relationship Id="rId10" Type="http://schemas.openxmlformats.org/officeDocument/2006/relationships/tags" Target="../tags/tag52.xml"/><Relationship Id="rId19" Type="http://schemas.openxmlformats.org/officeDocument/2006/relationships/image" Target="../media/image11.png"/><Relationship Id="rId4" Type="http://schemas.openxmlformats.org/officeDocument/2006/relationships/tags" Target="../tags/tag46.xml"/><Relationship Id="rId9" Type="http://schemas.openxmlformats.org/officeDocument/2006/relationships/tags" Target="../tags/tag51.xml"/><Relationship Id="rId14" Type="http://schemas.openxmlformats.org/officeDocument/2006/relationships/oleObject" Target="../embeddings/oleObject9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56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58.xml"/><Relationship Id="rId4" Type="http://schemas.openxmlformats.org/officeDocument/2006/relationships/tags" Target="../tags/tag57.xml"/><Relationship Id="rId9" Type="http://schemas.openxmlformats.org/officeDocument/2006/relationships/image" Target="../media/image7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7" Type="http://schemas.openxmlformats.org/officeDocument/2006/relationships/image" Target="../media/image7.emf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2.xml"/><Relationship Id="rId4" Type="http://schemas.openxmlformats.org/officeDocument/2006/relationships/image" Target="../media/image13.em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542846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58936" y="1143289"/>
            <a:ext cx="8051790" cy="49244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latin typeface="+mj-lt"/>
              </a:rPr>
              <a:t>Business Delivery and </a:t>
            </a:r>
            <a:r>
              <a:rPr lang="en-US" dirty="0" err="1">
                <a:latin typeface="+mj-lt"/>
              </a:rPr>
              <a:t>Opex</a:t>
            </a:r>
            <a:r>
              <a:rPr lang="en-US" dirty="0">
                <a:latin typeface="+mj-lt"/>
              </a:rPr>
              <a:t> Optimization</a:t>
            </a:r>
            <a:endParaRPr lang="en-US" dirty="0"/>
          </a:p>
        </p:txBody>
      </p:sp>
      <p:sp>
        <p:nvSpPr>
          <p:cNvPr id="4" name="Document type"/>
          <p:cNvSpPr txBox="1">
            <a:spLocks noChangeArrowheads="1"/>
          </p:cNvSpPr>
          <p:nvPr/>
        </p:nvSpPr>
        <p:spPr bwMode="auto">
          <a:xfrm>
            <a:off x="1778011" y="3765122"/>
            <a:ext cx="6694610" cy="2155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marR="0" indent="0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 sz="1400" baseline="0">
                <a:solidFill>
                  <a:schemeClr val="accent6"/>
                </a:solidFill>
                <a:latin typeface="+mn-lt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defTabSz="914422">
              <a:defRPr/>
            </a:pPr>
            <a:r>
              <a:rPr lang="en-US" sz="1401" dirty="0">
                <a:solidFill>
                  <a:srgbClr val="808080"/>
                </a:solidFill>
                <a:latin typeface="Futura Medium"/>
                <a:ea typeface="ＭＳ Ｐゴシック"/>
              </a:rPr>
              <a:t>January 2025</a:t>
            </a:r>
          </a:p>
        </p:txBody>
      </p:sp>
    </p:spTree>
    <p:extLst>
      <p:ext uri="{BB962C8B-B14F-4D97-AF65-F5344CB8AC3E}">
        <p14:creationId xmlns:p14="http://schemas.microsoft.com/office/powerpoint/2010/main" val="15866433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Object 41" hidden="1">
            <a:extLst>
              <a:ext uri="{FF2B5EF4-FFF2-40B4-BE49-F238E27FC236}">
                <a16:creationId xmlns:a16="http://schemas.microsoft.com/office/drawing/2014/main" id="{1F239165-C510-468B-8A1B-BE6F7A8AF6A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60156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70" imgH="371" progId="TCLayout.ActiveDocument.1">
                  <p:embed/>
                </p:oleObj>
              </mc:Choice>
              <mc:Fallback>
                <p:oleObj name="think-cell Slide" r:id="rId14" imgW="370" imgH="371" progId="TCLayout.ActiveDocument.1">
                  <p:embed/>
                  <p:pic>
                    <p:nvPicPr>
                      <p:cNvPr id="42" name="Object 41" hidden="1">
                        <a:extLst>
                          <a:ext uri="{FF2B5EF4-FFF2-40B4-BE49-F238E27FC236}">
                            <a16:creationId xmlns:a16="http://schemas.microsoft.com/office/drawing/2014/main" id="{1F239165-C510-468B-8A1B-BE6F7A8AF6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CF6CAFB-017F-4624-AEBC-E13B0DCBA3F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dirty="0">
              <a:solidFill>
                <a:schemeClr val="tx1"/>
              </a:solidFill>
              <a:latin typeface="ShellBold" panose="00000800000000000000" pitchFamily="50" charset="0"/>
              <a:ea typeface="+mj-ea"/>
              <a:cs typeface="+mj-cs"/>
              <a:sym typeface="ShellBold" panose="00000800000000000000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A036B6-673E-4BD5-84BA-E77E9E29BE9B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t" anchorCtr="0">
            <a:spAutoFit/>
          </a:bodyPr>
          <a:lstStyle/>
          <a:p>
            <a:r>
              <a:rPr lang="en-US" dirty="0">
                <a:latin typeface="+mj-lt"/>
              </a:rPr>
              <a:t>Fit4 – In Shell environment (Not Available to Renaissanc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2ACA1B6-C6BD-4EA9-8EBC-6FB79FC219DF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6726384" y="2399847"/>
            <a:ext cx="2305687" cy="107721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r>
              <a:rPr lang="en-US" sz="1400" b="1" dirty="0">
                <a:solidFill>
                  <a:schemeClr val="accent2"/>
                </a:solidFill>
                <a:latin typeface="ShellBook" panose="00000500000000000000" pitchFamily="50" charset="0"/>
                <a:sym typeface="ShellBook" panose="00000500000000000000" pitchFamily="50" charset="0"/>
              </a:rPr>
              <a:t>Plan</a:t>
            </a:r>
          </a:p>
          <a:p>
            <a:r>
              <a:rPr lang="en-US" sz="1400" dirty="0">
                <a:latin typeface="ShellBook" panose="00000500000000000000" pitchFamily="50" charset="0"/>
                <a:sym typeface="ShellBook" panose="00000500000000000000" pitchFamily="50" charset="0"/>
              </a:rPr>
              <a:t>Link goals with contributions for each initiative. Set clear actions (milestones), roles and responsibiliti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D76EE9E-72FF-40FF-A0CE-5F500349B360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6726384" y="4823884"/>
            <a:ext cx="2305687" cy="64633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r>
              <a:rPr lang="en-US" sz="1400" b="1" dirty="0">
                <a:solidFill>
                  <a:schemeClr val="accent2"/>
                </a:solidFill>
                <a:latin typeface="ShellBook" panose="00000500000000000000" pitchFamily="50" charset="0"/>
                <a:sym typeface="ShellBook" panose="00000500000000000000" pitchFamily="50" charset="0"/>
              </a:rPr>
              <a:t>Report</a:t>
            </a:r>
          </a:p>
          <a:p>
            <a:r>
              <a:rPr lang="en-US" sz="1400" dirty="0">
                <a:latin typeface="ShellBook" panose="00000500000000000000" pitchFamily="50" charset="0"/>
                <a:sym typeface="ShellBook" panose="00000500000000000000" pitchFamily="50" charset="0"/>
              </a:rPr>
              <a:t>Aggregate information across all initiativ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DC0707F-B4E9-40F1-965A-43DCB2FA3006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9373550" y="2399847"/>
            <a:ext cx="2305687" cy="86177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lvl="0" defTabSz="914400">
              <a:buClrTx/>
              <a:buSzTx/>
            </a:pPr>
            <a:r>
              <a:rPr lang="en-US" sz="1400" b="1" dirty="0">
                <a:solidFill>
                  <a:srgbClr val="D42E12"/>
                </a:solidFill>
                <a:latin typeface="ShellBook" panose="00000500000000000000" pitchFamily="50" charset="0"/>
                <a:sym typeface="ShellBook" panose="00000500000000000000" pitchFamily="50" charset="0"/>
              </a:rPr>
              <a:t>Track</a:t>
            </a:r>
          </a:p>
          <a:p>
            <a:pPr lvl="0" defTabSz="914400">
              <a:buClrTx/>
              <a:buSzTx/>
            </a:pPr>
            <a:r>
              <a:rPr lang="en-US" sz="1400" dirty="0">
                <a:solidFill>
                  <a:srgbClr val="666666"/>
                </a:solidFill>
                <a:latin typeface="ShellBook" panose="00000500000000000000" pitchFamily="50" charset="0"/>
                <a:sym typeface="ShellBook" panose="00000500000000000000" pitchFamily="50" charset="0"/>
              </a:rPr>
              <a:t>See progress across all workstreams and forecast future delivery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007F8A2-7DF7-4BBD-90CB-DFC055593FED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9373550" y="4823884"/>
            <a:ext cx="2305687" cy="86177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r>
              <a:rPr lang="en-US" sz="1400" b="1" dirty="0">
                <a:solidFill>
                  <a:schemeClr val="accent2"/>
                </a:solidFill>
                <a:latin typeface="ShellBook" panose="00000500000000000000" pitchFamily="50" charset="0"/>
                <a:sym typeface="ShellBook" panose="00000500000000000000" pitchFamily="50" charset="0"/>
              </a:rPr>
              <a:t>Act</a:t>
            </a:r>
          </a:p>
          <a:p>
            <a:r>
              <a:rPr lang="en-US" sz="1400" dirty="0">
                <a:latin typeface="ShellBook" panose="00000500000000000000" pitchFamily="50" charset="0"/>
                <a:sym typeface="ShellBook" panose="00000500000000000000" pitchFamily="50" charset="0"/>
              </a:rPr>
              <a:t>Access information and gain insights on what needs to be solved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2583B37-2024-4DD4-B0BA-17AFA7C49D84}"/>
              </a:ext>
            </a:extLst>
          </p:cNvPr>
          <p:cNvPicPr>
            <a:picLocks noChangeAspect="1"/>
          </p:cNvPicPr>
          <p:nvPr/>
        </p:nvPicPr>
        <p:blipFill rotWithShape="1">
          <a:blip r:embed="rId16"/>
          <a:srcRect l="45408" t="12199" b="66070"/>
          <a:stretch/>
        </p:blipFill>
        <p:spPr>
          <a:xfrm>
            <a:off x="6460580" y="1109045"/>
            <a:ext cx="4966790" cy="119589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4C32D8-CC21-4270-9272-BD78634312BE}"/>
              </a:ext>
            </a:extLst>
          </p:cNvPr>
          <p:cNvPicPr>
            <a:picLocks noChangeAspect="1"/>
          </p:cNvPicPr>
          <p:nvPr/>
        </p:nvPicPr>
        <p:blipFill rotWithShape="1">
          <a:blip r:embed="rId16"/>
          <a:srcRect l="45408" t="12199" b="66070"/>
          <a:stretch/>
        </p:blipFill>
        <p:spPr>
          <a:xfrm>
            <a:off x="6460580" y="3533082"/>
            <a:ext cx="4966790" cy="1195890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ABCFF73B-0CCA-463B-AC6E-1233766FE1FF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507999" y="1179678"/>
            <a:ext cx="5413809" cy="43088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r>
              <a:rPr lang="en-US" sz="1400" b="1" dirty="0">
                <a:solidFill>
                  <a:schemeClr val="accent2"/>
                </a:solidFill>
                <a:latin typeface="ShellBook" panose="00000500000000000000" pitchFamily="50" charset="0"/>
                <a:sym typeface="ShellBook" panose="00000500000000000000" pitchFamily="50" charset="0"/>
              </a:rPr>
              <a:t>Fit4 online platform </a:t>
            </a:r>
            <a:r>
              <a:rPr lang="en-US" sz="1400" dirty="0">
                <a:latin typeface="ShellBook" panose="00000500000000000000" pitchFamily="50" charset="0"/>
                <a:sym typeface="ShellBook" panose="00000500000000000000" pitchFamily="50" charset="0"/>
              </a:rPr>
              <a:t>is designed to manage a broad portfolio of initiatives as part of a wide-ranging value capture program </a:t>
            </a:r>
            <a:endParaRPr lang="en-US" sz="1400" b="1" dirty="0">
              <a:latin typeface="ShellBook" panose="00000500000000000000" pitchFamily="50" charset="0"/>
              <a:sym typeface="ShellBook" panose="00000500000000000000" pitchFamily="50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22AD80D-B55A-4D64-9721-C6A1FE2D754F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507999" y="4614392"/>
            <a:ext cx="5413809" cy="1479123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txBody>
          <a:bodyPr vert="horz" wrap="square" lIns="72009" tIns="72009" rIns="72009" bIns="72009" rtlCol="0" anchor="t" anchorCtr="0">
            <a:no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>
              <a:spcBef>
                <a:spcPts val="1000"/>
              </a:spcBef>
            </a:pPr>
            <a:r>
              <a:rPr lang="en-US" sz="1400" b="1" dirty="0">
                <a:solidFill>
                  <a:schemeClr val="accent2"/>
                </a:solidFill>
                <a:latin typeface="ShellBook" panose="00000500000000000000" pitchFamily="50" charset="0"/>
                <a:sym typeface="ShellBook" panose="00000500000000000000" pitchFamily="50" charset="0"/>
              </a:rPr>
              <a:t>Key users to include</a:t>
            </a:r>
          </a:p>
          <a:p>
            <a:pPr lvl="1">
              <a:spcBef>
                <a:spcPts val="500"/>
              </a:spcBef>
              <a:buClr>
                <a:schemeClr val="accent2"/>
              </a:buClr>
            </a:pPr>
            <a:r>
              <a:rPr lang="en-US" sz="1400" dirty="0">
                <a:latin typeface="ShellBook" panose="00000500000000000000" pitchFamily="50" charset="0"/>
                <a:sym typeface="ShellBook" panose="00000500000000000000" pitchFamily="50" charset="0"/>
              </a:rPr>
              <a:t>Workstream Sponsors</a:t>
            </a:r>
          </a:p>
          <a:p>
            <a:pPr lvl="1">
              <a:spcBef>
                <a:spcPts val="500"/>
              </a:spcBef>
              <a:buClr>
                <a:schemeClr val="accent2"/>
              </a:buClr>
            </a:pPr>
            <a:r>
              <a:rPr lang="en-US" sz="1400" dirty="0">
                <a:latin typeface="ShellBook" panose="00000500000000000000" pitchFamily="50" charset="0"/>
                <a:sym typeface="ShellBook" panose="00000500000000000000" pitchFamily="50" charset="0"/>
              </a:rPr>
              <a:t>Workstream Leads</a:t>
            </a:r>
          </a:p>
          <a:p>
            <a:pPr lvl="1">
              <a:spcBef>
                <a:spcPts val="500"/>
              </a:spcBef>
              <a:buClr>
                <a:schemeClr val="accent2"/>
              </a:buClr>
            </a:pPr>
            <a:r>
              <a:rPr lang="en-US" sz="1400" dirty="0">
                <a:latin typeface="ShellBook" panose="00000500000000000000" pitchFamily="50" charset="0"/>
                <a:sym typeface="ShellBook" panose="00000500000000000000" pitchFamily="50" charset="0"/>
              </a:rPr>
              <a:t>Finance Leads</a:t>
            </a:r>
          </a:p>
          <a:p>
            <a:pPr lvl="1">
              <a:spcBef>
                <a:spcPts val="500"/>
              </a:spcBef>
              <a:buClr>
                <a:schemeClr val="accent2"/>
              </a:buClr>
            </a:pPr>
            <a:r>
              <a:rPr lang="en-US" sz="1400" dirty="0">
                <a:latin typeface="ShellBook" panose="00000500000000000000" pitchFamily="50" charset="0"/>
                <a:sym typeface="ShellBook" panose="00000500000000000000" pitchFamily="50" charset="0"/>
              </a:rPr>
              <a:t>initiative Owner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7653B5DA-FEB1-4C8C-9335-F80D8A8AB9AC}"/>
              </a:ext>
            </a:extLst>
          </p:cNvPr>
          <p:cNvGrpSpPr>
            <a:grpSpLocks/>
          </p:cNvGrpSpPr>
          <p:nvPr/>
        </p:nvGrpSpPr>
        <p:grpSpPr>
          <a:xfrm>
            <a:off x="507999" y="2010481"/>
            <a:ext cx="5413809" cy="242114"/>
            <a:chOff x="508000" y="2092351"/>
            <a:chExt cx="5096165" cy="203133"/>
          </a:xfrm>
        </p:grpSpPr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1918C617-ED8F-4229-95F9-2AE4627D367D}"/>
                </a:ext>
              </a:extLst>
            </p:cNvPr>
            <p:cNvSpPr txBox="1">
              <a:spLocks/>
            </p:cNvSpPr>
            <p:nvPr>
              <p:custDataLst>
                <p:tags r:id="rId11"/>
              </p:custDataLst>
            </p:nvPr>
          </p:nvSpPr>
          <p:spPr>
            <a:xfrm>
              <a:off x="508000" y="2092351"/>
              <a:ext cx="5096165" cy="203133"/>
            </a:xfrm>
            <a:prstGeom prst="rect">
              <a:avLst/>
            </a:prstGeom>
          </p:spPr>
          <p:txBody>
            <a:bodyPr vert="horz" wrap="square" lIns="0" tIns="0" rIns="0" bIns="18288" rtlCol="0" anchor="b" anchorCtr="0">
              <a:no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2024" lvl="1" indent="-192024" defTabSz="12180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600" baseline="0">
                  <a:latin typeface="+mn-lt"/>
                </a:defRPr>
              </a:lvl2pPr>
              <a:lvl3pPr marL="457200" lvl="2" indent="-265176" defTabSz="12180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12180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600" baseline="0">
                  <a:latin typeface="+mn-lt"/>
                </a:defRPr>
              </a:lvl4pPr>
              <a:lvl5pPr marL="749808" lvl="4" indent="-128016" defTabSz="12180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r>
                <a:rPr lang="en-US" sz="1400" b="1" dirty="0">
                  <a:solidFill>
                    <a:schemeClr val="accent2"/>
                  </a:solidFill>
                  <a:latin typeface="ShellBook" panose="00000500000000000000" pitchFamily="50" charset="0"/>
                  <a:sym typeface="ShellBook" panose="00000500000000000000" pitchFamily="50" charset="0"/>
                </a:rPr>
                <a:t>How Fit4 works</a:t>
              </a:r>
            </a:p>
          </p:txBody>
        </p: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9E4AD275-3EC9-4824-8C33-1F3DB811C941}"/>
                </a:ext>
              </a:extLst>
            </p:cNvPr>
            <p:cNvCxnSpPr>
              <a:cxnSpLocks/>
            </p:cNvCxnSpPr>
            <p:nvPr/>
          </p:nvCxnSpPr>
          <p:spPr>
            <a:xfrm>
              <a:off x="508000" y="2295484"/>
              <a:ext cx="5096165" cy="0"/>
            </a:xfrm>
            <a:prstGeom prst="line">
              <a:avLst/>
            </a:prstGeom>
            <a:ln w="9525">
              <a:solidFill>
                <a:schemeClr val="accent2">
                  <a:alpha val="63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DCF8DFE1-0BFF-45CE-A100-41F44E08DE9F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507999" y="2437067"/>
            <a:ext cx="5413809" cy="1992853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lvl="1">
              <a:spcAft>
                <a:spcPts val="700"/>
              </a:spcAft>
            </a:pPr>
            <a:r>
              <a:rPr lang="en-US" sz="1400" b="1" dirty="0">
                <a:solidFill>
                  <a:schemeClr val="accent2"/>
                </a:solidFill>
                <a:latin typeface="ShellBook" panose="00000500000000000000" pitchFamily="50" charset="0"/>
                <a:sym typeface="ShellBook" panose="00000500000000000000" pitchFamily="50" charset="0"/>
              </a:rPr>
              <a:t>Acts as one ‘single source of truth’ </a:t>
            </a:r>
            <a:r>
              <a:rPr lang="en-US" sz="1400" dirty="0">
                <a:latin typeface="ShellBook" panose="00000500000000000000" pitchFamily="50" charset="0"/>
                <a:sym typeface="ShellBook" panose="00000500000000000000" pitchFamily="50" charset="0"/>
              </a:rPr>
              <a:t>as a digital platform providing a consolidated view of all workstreams, eliminating version control issues</a:t>
            </a:r>
          </a:p>
          <a:p>
            <a:pPr lvl="1">
              <a:spcAft>
                <a:spcPts val="700"/>
              </a:spcAft>
            </a:pPr>
            <a:r>
              <a:rPr lang="en-US" sz="1400" b="1" dirty="0">
                <a:solidFill>
                  <a:schemeClr val="accent2"/>
                </a:solidFill>
                <a:latin typeface="ShellBook" panose="00000500000000000000" pitchFamily="50" charset="0"/>
                <a:sym typeface="ShellBook" panose="00000500000000000000" pitchFamily="50" charset="0"/>
              </a:rPr>
              <a:t>Enforces consistent L0-L5 phase maturation process </a:t>
            </a:r>
            <a:r>
              <a:rPr lang="en-US" sz="1400" dirty="0">
                <a:latin typeface="ShellBook" panose="00000500000000000000" pitchFamily="50" charset="0"/>
                <a:sym typeface="ShellBook" panose="00000500000000000000" pitchFamily="50" charset="0"/>
              </a:rPr>
              <a:t>from idea to impact realization</a:t>
            </a:r>
          </a:p>
          <a:p>
            <a:pPr lvl="1">
              <a:spcAft>
                <a:spcPts val="700"/>
              </a:spcAft>
            </a:pPr>
            <a:r>
              <a:rPr lang="en-US" sz="1400" b="1" dirty="0">
                <a:solidFill>
                  <a:schemeClr val="accent2"/>
                </a:solidFill>
                <a:latin typeface="ShellBook" panose="00000500000000000000" pitchFamily="50" charset="0"/>
                <a:sym typeface="ShellBook" panose="00000500000000000000" pitchFamily="50" charset="0"/>
              </a:rPr>
              <a:t>Automates L0-L5 phase approval workflow </a:t>
            </a:r>
            <a:r>
              <a:rPr lang="en-US" sz="1400" dirty="0">
                <a:latin typeface="ShellBook" panose="00000500000000000000" pitchFamily="50" charset="0"/>
                <a:sym typeface="ShellBook" panose="00000500000000000000" pitchFamily="50" charset="0"/>
              </a:rPr>
              <a:t>from specific approvers at each phase</a:t>
            </a:r>
          </a:p>
          <a:p>
            <a:pPr lvl="1">
              <a:spcAft>
                <a:spcPts val="700"/>
              </a:spcAft>
              <a:buClr>
                <a:schemeClr val="accent2"/>
              </a:buClr>
              <a:buSzPct val="100000"/>
            </a:pPr>
            <a:r>
              <a:rPr lang="en-US" sz="1400" b="1" dirty="0">
                <a:solidFill>
                  <a:schemeClr val="accent2"/>
                </a:solidFill>
                <a:latin typeface="ShellBook" panose="00000500000000000000" pitchFamily="50" charset="0"/>
                <a:sym typeface="ShellBook" panose="00000500000000000000" pitchFamily="50" charset="0"/>
              </a:rPr>
              <a:t>Automates reporting </a:t>
            </a:r>
            <a:r>
              <a:rPr lang="en-US" sz="1400" dirty="0">
                <a:latin typeface="ShellBook" panose="00000500000000000000" pitchFamily="50" charset="0"/>
                <a:sym typeface="ShellBook" panose="00000500000000000000" pitchFamily="50" charset="0"/>
              </a:rPr>
              <a:t>and real-time status on initiative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FA77FBB-BE82-4EAA-A62D-43AF500D9FFA}"/>
              </a:ext>
            </a:extLst>
          </p:cNvPr>
          <p:cNvGrpSpPr/>
          <p:nvPr/>
        </p:nvGrpSpPr>
        <p:grpSpPr>
          <a:xfrm>
            <a:off x="6152681" y="1116000"/>
            <a:ext cx="274320" cy="5029200"/>
            <a:chOff x="6152681" y="1419771"/>
            <a:chExt cx="274320" cy="5029200"/>
          </a:xfrm>
        </p:grpSpPr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9AB1892E-1AC8-4CDC-8A34-6CED566D50B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289841" y="1419771"/>
              <a:ext cx="0" cy="502920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96F3E00E-E419-486A-8968-1E22EB4CF703}"/>
                </a:ext>
              </a:extLst>
            </p:cNvPr>
            <p:cNvGrpSpPr/>
            <p:nvPr/>
          </p:nvGrpSpPr>
          <p:grpSpPr>
            <a:xfrm>
              <a:off x="6152681" y="3774351"/>
              <a:ext cx="274320" cy="320040"/>
              <a:chOff x="6964363" y="1595562"/>
              <a:chExt cx="188913" cy="225293"/>
            </a:xfrm>
          </p:grpSpPr>
          <p:sp>
            <p:nvSpPr>
              <p:cNvPr id="46" name="Chevron1">
                <a:extLst>
                  <a:ext uri="{FF2B5EF4-FFF2-40B4-BE49-F238E27FC236}">
                    <a16:creationId xmlns:a16="http://schemas.microsoft.com/office/drawing/2014/main" id="{D2EDEE1E-B998-46A9-9207-40952A7FE13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007225" y="1617945"/>
                <a:ext cx="98425" cy="176812"/>
              </a:xfrm>
              <a:custGeom>
                <a:avLst/>
                <a:gdLst/>
                <a:ahLst/>
                <a:cxnLst/>
                <a:rect l="0" t="0" r="0" b="0"/>
                <a:pathLst>
                  <a:path w="2984501" h="5080001">
                    <a:moveTo>
                      <a:pt x="0" y="0"/>
                    </a:moveTo>
                    <a:lnTo>
                      <a:pt x="1524000" y="0"/>
                    </a:lnTo>
                    <a:lnTo>
                      <a:pt x="2984500" y="2540000"/>
                    </a:lnTo>
                    <a:lnTo>
                      <a:pt x="1524000" y="5080000"/>
                    </a:lnTo>
                    <a:lnTo>
                      <a:pt x="0" y="5080000"/>
                    </a:lnTo>
                    <a:lnTo>
                      <a:pt x="1460500" y="254000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7" name="Chevron1">
                <a:extLst>
                  <a:ext uri="{FF2B5EF4-FFF2-40B4-BE49-F238E27FC236}">
                    <a16:creationId xmlns:a16="http://schemas.microsoft.com/office/drawing/2014/main" id="{B188E559-7D7A-4B9C-8954-A89525763B2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964363" y="1617945"/>
                <a:ext cx="100013" cy="179665"/>
              </a:xfrm>
              <a:custGeom>
                <a:avLst/>
                <a:gdLst/>
                <a:ahLst/>
                <a:cxnLst/>
                <a:rect l="0" t="0" r="0" b="0"/>
                <a:pathLst>
                  <a:path w="2984501" h="5080001">
                    <a:moveTo>
                      <a:pt x="0" y="0"/>
                    </a:moveTo>
                    <a:lnTo>
                      <a:pt x="1524000" y="0"/>
                    </a:lnTo>
                    <a:lnTo>
                      <a:pt x="2984500" y="2540000"/>
                    </a:lnTo>
                    <a:lnTo>
                      <a:pt x="1524000" y="5080000"/>
                    </a:lnTo>
                    <a:lnTo>
                      <a:pt x="0" y="5080000"/>
                    </a:lnTo>
                    <a:lnTo>
                      <a:pt x="1460500" y="2540000"/>
                    </a:lnTo>
                    <a:close/>
                  </a:path>
                </a:pathLst>
              </a:custGeom>
              <a:solidFill>
                <a:srgbClr val="F7D117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8" name="Chevron2">
                <a:extLst>
                  <a:ext uri="{FF2B5EF4-FFF2-40B4-BE49-F238E27FC236}">
                    <a16:creationId xmlns:a16="http://schemas.microsoft.com/office/drawing/2014/main" id="{CEA5C467-5796-43D9-9346-2AC52DEFCC06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027863" y="1595562"/>
                <a:ext cx="125413" cy="225293"/>
              </a:xfrm>
              <a:custGeom>
                <a:avLst/>
                <a:gdLst/>
                <a:ahLst/>
                <a:cxnLst/>
                <a:rect l="0" t="0" r="0" b="0"/>
                <a:pathLst>
                  <a:path w="2984501" h="5080001">
                    <a:moveTo>
                      <a:pt x="0" y="0"/>
                    </a:moveTo>
                    <a:lnTo>
                      <a:pt x="1524000" y="0"/>
                    </a:lnTo>
                    <a:lnTo>
                      <a:pt x="2984500" y="2540000"/>
                    </a:lnTo>
                    <a:lnTo>
                      <a:pt x="1524000" y="5080000"/>
                    </a:lnTo>
                    <a:lnTo>
                      <a:pt x="0" y="5080000"/>
                    </a:lnTo>
                    <a:lnTo>
                      <a:pt x="1460500" y="2540000"/>
                    </a:lnTo>
                    <a:close/>
                  </a:path>
                </a:pathLst>
              </a:custGeom>
              <a:solidFill>
                <a:srgbClr val="D42E12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B5A6BF3F-9071-4B03-9F6D-B3B855B32E71}"/>
              </a:ext>
            </a:extLst>
          </p:cNvPr>
          <p:cNvPicPr>
            <a:picLocks/>
          </p:cNvPicPr>
          <p:nvPr/>
        </p:nvPicPr>
        <p:blipFill rotWithShape="1">
          <a:blip r:embed="rId17"/>
          <a:srcRect t="15556" r="35000" b="6666"/>
          <a:stretch/>
        </p:blipFill>
        <p:spPr>
          <a:xfrm>
            <a:off x="6899924" y="3703821"/>
            <a:ext cx="1582215" cy="850392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387DC707-4743-4DBC-9F9D-CA65EE43E6F6}"/>
              </a:ext>
            </a:extLst>
          </p:cNvPr>
          <p:cNvPicPr>
            <a:picLocks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73550" y="1271754"/>
            <a:ext cx="1581912" cy="850392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912F7611-EAAA-4682-A628-D405650F9B50}"/>
              </a:ext>
            </a:extLst>
          </p:cNvPr>
          <p:cNvPicPr>
            <a:picLocks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73550" y="3703821"/>
            <a:ext cx="1581912" cy="850392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067E4ADA-F4B1-497D-AD9D-F2415083ACA3}"/>
              </a:ext>
            </a:extLst>
          </p:cNvPr>
          <p:cNvPicPr>
            <a:picLocks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0227" y="1271754"/>
            <a:ext cx="1581912" cy="850392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8F7A5A38-8BCF-4D22-A0CA-911EF93D9ADE}"/>
              </a:ext>
            </a:extLst>
          </p:cNvPr>
          <p:cNvGrpSpPr/>
          <p:nvPr/>
        </p:nvGrpSpPr>
        <p:grpSpPr>
          <a:xfrm>
            <a:off x="9984087" y="34186"/>
            <a:ext cx="2207913" cy="365760"/>
            <a:chOff x="9984087" y="34186"/>
            <a:chExt cx="2207913" cy="365760"/>
          </a:xfrm>
        </p:grpSpPr>
        <p:sp>
          <p:nvSpPr>
            <p:cNvPr id="56" name="Action Button: Go Back or Previous 55">
              <a:hlinkClick r:id="" action="ppaction://hlinkshowjump?jump=previousslide" highlightClick="1"/>
              <a:extLst>
                <a:ext uri="{FF2B5EF4-FFF2-40B4-BE49-F238E27FC236}">
                  <a16:creationId xmlns:a16="http://schemas.microsoft.com/office/drawing/2014/main" id="{535CD205-1E7B-4959-997F-13544B348081}"/>
                </a:ext>
              </a:extLst>
            </p:cNvPr>
            <p:cNvSpPr/>
            <p:nvPr/>
          </p:nvSpPr>
          <p:spPr>
            <a:xfrm>
              <a:off x="10441870" y="34186"/>
              <a:ext cx="365760" cy="365760"/>
            </a:xfrm>
            <a:prstGeom prst="actionButtonBackPrevious">
              <a:avLst/>
            </a:prstGeom>
            <a:noFill/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sp>
          <p:nvSpPr>
            <p:cNvPr id="57" name="Action Button: Go Home 56">
              <a:hlinkClick r:id="" action="ppaction://hlinkshowjump?jump=firstslide" highlightClick="1"/>
              <a:extLst>
                <a:ext uri="{FF2B5EF4-FFF2-40B4-BE49-F238E27FC236}">
                  <a16:creationId xmlns:a16="http://schemas.microsoft.com/office/drawing/2014/main" id="{FC9E022E-7AA9-4150-9241-AF3D5B32A418}"/>
                </a:ext>
              </a:extLst>
            </p:cNvPr>
            <p:cNvSpPr/>
            <p:nvPr/>
          </p:nvSpPr>
          <p:spPr>
            <a:xfrm>
              <a:off x="9984087" y="34186"/>
              <a:ext cx="365760" cy="365760"/>
            </a:xfrm>
            <a:prstGeom prst="actionButtonHome">
              <a:avLst/>
            </a:prstGeom>
            <a:noFill/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sp>
          <p:nvSpPr>
            <p:cNvPr id="58" name="Action Button: Go Forward or Next 57">
              <a:hlinkClick r:id="" action="ppaction://hlinkshowjump?jump=nextslide" highlightClick="1"/>
              <a:extLst>
                <a:ext uri="{FF2B5EF4-FFF2-40B4-BE49-F238E27FC236}">
                  <a16:creationId xmlns:a16="http://schemas.microsoft.com/office/drawing/2014/main" id="{3A9E8DF8-228E-4304-863F-B3ACBE41242E}"/>
                </a:ext>
              </a:extLst>
            </p:cNvPr>
            <p:cNvSpPr/>
            <p:nvPr/>
          </p:nvSpPr>
          <p:spPr>
            <a:xfrm>
              <a:off x="10899653" y="34186"/>
              <a:ext cx="365760" cy="365760"/>
            </a:xfrm>
            <a:prstGeom prst="actionButtonForwardNext">
              <a:avLst/>
            </a:prstGeom>
            <a:noFill/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sp>
          <p:nvSpPr>
            <p:cNvPr id="59" name="Action Button: Go to Beginning 58">
              <a:hlinkClick r:id="" action="ppaction://hlinkshowjump?jump=firstslide" highlightClick="1"/>
              <a:extLst>
                <a:ext uri="{FF2B5EF4-FFF2-40B4-BE49-F238E27FC236}">
                  <a16:creationId xmlns:a16="http://schemas.microsoft.com/office/drawing/2014/main" id="{A3608A34-3466-4F00-B84F-DEFAB27BCDE2}"/>
                </a:ext>
              </a:extLst>
            </p:cNvPr>
            <p:cNvSpPr/>
            <p:nvPr/>
          </p:nvSpPr>
          <p:spPr>
            <a:xfrm>
              <a:off x="11371800" y="34186"/>
              <a:ext cx="365760" cy="365760"/>
            </a:xfrm>
            <a:prstGeom prst="actionButtonBeginning">
              <a:avLst/>
            </a:prstGeom>
            <a:noFill/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sp>
          <p:nvSpPr>
            <p:cNvPr id="60" name="Action Button: Go to End 59">
              <a:hlinkClick r:id="" action="ppaction://hlinkshowjump?jump=lastslide" highlightClick="1"/>
              <a:extLst>
                <a:ext uri="{FF2B5EF4-FFF2-40B4-BE49-F238E27FC236}">
                  <a16:creationId xmlns:a16="http://schemas.microsoft.com/office/drawing/2014/main" id="{65302352-E660-4A09-8AAD-383720D216FA}"/>
                </a:ext>
              </a:extLst>
            </p:cNvPr>
            <p:cNvSpPr/>
            <p:nvPr/>
          </p:nvSpPr>
          <p:spPr>
            <a:xfrm>
              <a:off x="11826240" y="34186"/>
              <a:ext cx="365760" cy="365760"/>
            </a:xfrm>
            <a:prstGeom prst="actionButtonEnd">
              <a:avLst/>
            </a:prstGeom>
            <a:noFill/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</p:grpSp>
      <p:sp>
        <p:nvSpPr>
          <p:cNvPr id="35" name="Slide Number Placeholder 4">
            <a:extLst>
              <a:ext uri="{FF2B5EF4-FFF2-40B4-BE49-F238E27FC236}">
                <a16:creationId xmlns:a16="http://schemas.microsoft.com/office/drawing/2014/main" id="{7B558CDB-2E3B-42AB-9F48-5087BB2240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1219170" rtl="0" eaLnBrk="1" latinLnBrk="0" hangingPunct="1">
              <a:defRPr sz="850" kern="120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32BAE6A-B452-4007-8177-56DD051636F9}" type="slidenum">
              <a:rPr lang="en-GB" noProof="1" smtClean="0"/>
              <a:pPr/>
              <a:t>1</a:t>
            </a:fld>
            <a:endParaRPr lang="en-GB" noProof="1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106346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Object 41" hidden="1">
            <a:extLst>
              <a:ext uri="{FF2B5EF4-FFF2-40B4-BE49-F238E27FC236}">
                <a16:creationId xmlns:a16="http://schemas.microsoft.com/office/drawing/2014/main" id="{1F239165-C510-468B-8A1B-BE6F7A8AF6A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9700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70" imgH="371" progId="TCLayout.ActiveDocument.1">
                  <p:embed/>
                </p:oleObj>
              </mc:Choice>
              <mc:Fallback>
                <p:oleObj name="think-cell Slide" r:id="rId8" imgW="370" imgH="371" progId="TCLayout.ActiveDocument.1">
                  <p:embed/>
                  <p:pic>
                    <p:nvPicPr>
                      <p:cNvPr id="42" name="Object 41" hidden="1">
                        <a:extLst>
                          <a:ext uri="{FF2B5EF4-FFF2-40B4-BE49-F238E27FC236}">
                            <a16:creationId xmlns:a16="http://schemas.microsoft.com/office/drawing/2014/main" id="{1F239165-C510-468B-8A1B-BE6F7A8AF6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CF6CAFB-017F-4624-AEBC-E13B0DCBA3F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dirty="0">
              <a:solidFill>
                <a:schemeClr val="tx1"/>
              </a:solidFill>
              <a:latin typeface="ShellBold" panose="00000800000000000000" pitchFamily="50" charset="0"/>
              <a:ea typeface="+mj-ea"/>
              <a:cs typeface="+mj-cs"/>
              <a:sym typeface="ShellBold" panose="00000800000000000000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A036B6-673E-4BD5-84BA-E77E9E29BE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5" y="156176"/>
            <a:ext cx="11188690" cy="33868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t" anchorCtr="0">
            <a:spAutoFit/>
          </a:bodyPr>
          <a:lstStyle/>
          <a:p>
            <a:r>
              <a:rPr lang="en-GB" dirty="0"/>
              <a:t>DIY Alternative for Business Continuity</a:t>
            </a:r>
            <a:endParaRPr lang="en-US" dirty="0">
              <a:latin typeface="+mj-lt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F7A5A38-8BCF-4D22-A0CA-911EF93D9ADE}"/>
              </a:ext>
            </a:extLst>
          </p:cNvPr>
          <p:cNvGrpSpPr/>
          <p:nvPr/>
        </p:nvGrpSpPr>
        <p:grpSpPr>
          <a:xfrm>
            <a:off x="9984087" y="34186"/>
            <a:ext cx="2207913" cy="365760"/>
            <a:chOff x="9984087" y="34186"/>
            <a:chExt cx="2207913" cy="365760"/>
          </a:xfrm>
        </p:grpSpPr>
        <p:sp>
          <p:nvSpPr>
            <p:cNvPr id="56" name="Action Button: Go Back or Previous 55">
              <a:hlinkClick r:id="" action="ppaction://hlinkshowjump?jump=previousslide" highlightClick="1"/>
              <a:extLst>
                <a:ext uri="{FF2B5EF4-FFF2-40B4-BE49-F238E27FC236}">
                  <a16:creationId xmlns:a16="http://schemas.microsoft.com/office/drawing/2014/main" id="{535CD205-1E7B-4959-997F-13544B348081}"/>
                </a:ext>
              </a:extLst>
            </p:cNvPr>
            <p:cNvSpPr/>
            <p:nvPr/>
          </p:nvSpPr>
          <p:spPr>
            <a:xfrm>
              <a:off x="10441870" y="34186"/>
              <a:ext cx="365760" cy="365760"/>
            </a:xfrm>
            <a:prstGeom prst="actionButtonBackPrevious">
              <a:avLst/>
            </a:prstGeom>
            <a:noFill/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sp>
          <p:nvSpPr>
            <p:cNvPr id="57" name="Action Button: Go Home 56">
              <a:hlinkClick r:id="" action="ppaction://hlinkshowjump?jump=firstslide" highlightClick="1"/>
              <a:extLst>
                <a:ext uri="{FF2B5EF4-FFF2-40B4-BE49-F238E27FC236}">
                  <a16:creationId xmlns:a16="http://schemas.microsoft.com/office/drawing/2014/main" id="{FC9E022E-7AA9-4150-9241-AF3D5B32A418}"/>
                </a:ext>
              </a:extLst>
            </p:cNvPr>
            <p:cNvSpPr/>
            <p:nvPr/>
          </p:nvSpPr>
          <p:spPr>
            <a:xfrm>
              <a:off x="9984087" y="34186"/>
              <a:ext cx="365760" cy="365760"/>
            </a:xfrm>
            <a:prstGeom prst="actionButtonHome">
              <a:avLst/>
            </a:prstGeom>
            <a:noFill/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sp>
          <p:nvSpPr>
            <p:cNvPr id="58" name="Action Button: Go Forward or Next 57">
              <a:hlinkClick r:id="" action="ppaction://hlinkshowjump?jump=nextslide" highlightClick="1"/>
              <a:extLst>
                <a:ext uri="{FF2B5EF4-FFF2-40B4-BE49-F238E27FC236}">
                  <a16:creationId xmlns:a16="http://schemas.microsoft.com/office/drawing/2014/main" id="{3A9E8DF8-228E-4304-863F-B3ACBE41242E}"/>
                </a:ext>
              </a:extLst>
            </p:cNvPr>
            <p:cNvSpPr/>
            <p:nvPr/>
          </p:nvSpPr>
          <p:spPr>
            <a:xfrm>
              <a:off x="10899653" y="34186"/>
              <a:ext cx="365760" cy="365760"/>
            </a:xfrm>
            <a:prstGeom prst="actionButtonForwardNext">
              <a:avLst/>
            </a:prstGeom>
            <a:noFill/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sp>
          <p:nvSpPr>
            <p:cNvPr id="59" name="Action Button: Go to Beginning 58">
              <a:hlinkClick r:id="" action="ppaction://hlinkshowjump?jump=firstslide" highlightClick="1"/>
              <a:extLst>
                <a:ext uri="{FF2B5EF4-FFF2-40B4-BE49-F238E27FC236}">
                  <a16:creationId xmlns:a16="http://schemas.microsoft.com/office/drawing/2014/main" id="{A3608A34-3466-4F00-B84F-DEFAB27BCDE2}"/>
                </a:ext>
              </a:extLst>
            </p:cNvPr>
            <p:cNvSpPr/>
            <p:nvPr/>
          </p:nvSpPr>
          <p:spPr>
            <a:xfrm>
              <a:off x="11371800" y="34186"/>
              <a:ext cx="365760" cy="365760"/>
            </a:xfrm>
            <a:prstGeom prst="actionButtonBeginning">
              <a:avLst/>
            </a:prstGeom>
            <a:noFill/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sp>
          <p:nvSpPr>
            <p:cNvPr id="60" name="Action Button: Go to End 59">
              <a:hlinkClick r:id="" action="ppaction://hlinkshowjump?jump=lastslide" highlightClick="1"/>
              <a:extLst>
                <a:ext uri="{FF2B5EF4-FFF2-40B4-BE49-F238E27FC236}">
                  <a16:creationId xmlns:a16="http://schemas.microsoft.com/office/drawing/2014/main" id="{65302352-E660-4A09-8AAD-383720D216FA}"/>
                </a:ext>
              </a:extLst>
            </p:cNvPr>
            <p:cNvSpPr/>
            <p:nvPr/>
          </p:nvSpPr>
          <p:spPr>
            <a:xfrm>
              <a:off x="11826240" y="34186"/>
              <a:ext cx="365760" cy="365760"/>
            </a:xfrm>
            <a:prstGeom prst="actionButtonEnd">
              <a:avLst/>
            </a:prstGeom>
            <a:noFill/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</p:grpSp>
      <p:sp>
        <p:nvSpPr>
          <p:cNvPr id="35" name="Slide Number Placeholder 4">
            <a:extLst>
              <a:ext uri="{FF2B5EF4-FFF2-40B4-BE49-F238E27FC236}">
                <a16:creationId xmlns:a16="http://schemas.microsoft.com/office/drawing/2014/main" id="{7B558CDB-2E3B-42AB-9F48-5087BB2240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1219170" rtl="0" eaLnBrk="1" latinLnBrk="0" hangingPunct="1">
              <a:defRPr sz="850" kern="120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32BAE6A-B452-4007-8177-56DD051636F9}" type="slidenum">
              <a:rPr lang="en-GB" noProof="1" smtClean="0"/>
              <a:pPr/>
              <a:t>2</a:t>
            </a:fld>
            <a:endParaRPr lang="en-GB" noProof="1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EE5495F-044A-1637-C925-74451B1D397B}"/>
              </a:ext>
            </a:extLst>
          </p:cNvPr>
          <p:cNvSpPr txBox="1"/>
          <p:nvPr/>
        </p:nvSpPr>
        <p:spPr>
          <a:xfrm>
            <a:off x="409413" y="651243"/>
            <a:ext cx="957467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 b="1" dirty="0">
                <a:solidFill>
                  <a:schemeClr val="accent2"/>
                </a:solidFill>
                <a:latin typeface="ShellBook" panose="00000500000000000000" pitchFamily="50" charset="0"/>
              </a:rPr>
              <a:t>FIT4 Alternative DIY tool:  </a:t>
            </a:r>
            <a:r>
              <a:rPr lang="en-GB" sz="1400" dirty="0">
                <a:effectLst/>
                <a:latin typeface="ShellBook" panose="00000500000000000000" pitchFamily="2" charset="0"/>
                <a:ea typeface="Calibri" panose="020F0502020204030204" pitchFamily="34" charset="0"/>
              </a:rPr>
              <a:t>The application, Business Optimization mimics the features in Fit4 and is developed using Python and Django framework. This will ensure business continuity in OPEX management and optimisation.</a:t>
            </a:r>
            <a:endParaRPr lang="en-US" sz="1400" dirty="0">
              <a:latin typeface="ShellBook" panose="00000500000000000000" pitchFamily="2" charset="0"/>
              <a:ea typeface="Calibri" panose="020F050202020403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0FC4531-BCDB-97DB-EC47-DC049175F56E}"/>
              </a:ext>
            </a:extLst>
          </p:cNvPr>
          <p:cNvSpPr txBox="1"/>
          <p:nvPr/>
        </p:nvSpPr>
        <p:spPr>
          <a:xfrm>
            <a:off x="4894723" y="3702452"/>
            <a:ext cx="12012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Calibri" panose="020F0502020204030204" pitchFamily="34" charset="0"/>
                <a:ea typeface="Calibri" panose="020F0502020204030204" pitchFamily="34" charset="0"/>
              </a:rPr>
              <a:t>Timeline:</a:t>
            </a: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36EDD16D-491D-CFBC-F390-BB5D77FABC2C}"/>
              </a:ext>
            </a:extLst>
          </p:cNvPr>
          <p:cNvCxnSpPr>
            <a:cxnSpLocks/>
          </p:cNvCxnSpPr>
          <p:nvPr/>
        </p:nvCxnSpPr>
        <p:spPr>
          <a:xfrm>
            <a:off x="790575" y="4104676"/>
            <a:ext cx="9067800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0B3AB02B-34AB-8311-0E10-8F47707F2A2B}"/>
              </a:ext>
            </a:extLst>
          </p:cNvPr>
          <p:cNvSpPr txBox="1"/>
          <p:nvPr/>
        </p:nvSpPr>
        <p:spPr>
          <a:xfrm>
            <a:off x="405038" y="4162075"/>
            <a:ext cx="53732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Feb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CDD0019-3719-DA54-0E97-F38A8817AE6F}"/>
              </a:ext>
            </a:extLst>
          </p:cNvPr>
          <p:cNvSpPr txBox="1"/>
          <p:nvPr/>
        </p:nvSpPr>
        <p:spPr>
          <a:xfrm flipH="1">
            <a:off x="9269712" y="4219208"/>
            <a:ext cx="7143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Mar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C8CB1D5-E3E9-321C-EB58-C4C0BF841344}"/>
              </a:ext>
            </a:extLst>
          </p:cNvPr>
          <p:cNvSpPr txBox="1"/>
          <p:nvPr/>
        </p:nvSpPr>
        <p:spPr>
          <a:xfrm>
            <a:off x="368790" y="4557762"/>
            <a:ext cx="4069859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100" dirty="0">
                <a:latin typeface="ShellBook" panose="00000500000000000000" pitchFamily="2" charset="0"/>
              </a:rPr>
              <a:t>Install Python 3.11 and above on a server </a:t>
            </a:r>
            <a:r>
              <a:rPr lang="en-GB" sz="1100" b="1" dirty="0">
                <a:latin typeface="ShellBook" panose="00000500000000000000" pitchFamily="2" charset="0"/>
              </a:rPr>
              <a:t>(IDT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100" dirty="0">
                <a:latin typeface="ShellBook" panose="00000500000000000000" pitchFamily="2" charset="0"/>
              </a:rPr>
              <a:t>Install Django version </a:t>
            </a:r>
            <a:r>
              <a:rPr lang="en-GB" sz="1100" b="1" dirty="0">
                <a:latin typeface="ShellBook" panose="00000500000000000000" pitchFamily="2" charset="0"/>
              </a:rPr>
              <a:t>(IDT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100" dirty="0">
                <a:latin typeface="ShellBook" panose="00000500000000000000" pitchFamily="2" charset="0"/>
              </a:rPr>
              <a:t>Install MSSQL to a database server </a:t>
            </a:r>
            <a:r>
              <a:rPr lang="en-GB" sz="1100" b="1" dirty="0">
                <a:latin typeface="ShellBook" panose="00000500000000000000" pitchFamily="2" charset="0"/>
              </a:rPr>
              <a:t>(IDT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100" dirty="0">
                <a:effectLst/>
                <a:latin typeface="ShellBook" panose="00000500000000000000" pitchFamily="2" charset="0"/>
                <a:ea typeface="Times New Roman" panose="02020603050405020304" pitchFamily="18" charset="0"/>
              </a:rPr>
              <a:t>The Data Analysis of report, with different graphs</a:t>
            </a:r>
            <a:endParaRPr lang="en-GB" sz="1100" b="1" dirty="0">
              <a:latin typeface="ShellBook" panose="00000500000000000000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100" dirty="0">
                <a:latin typeface="ShellBook" panose="00000500000000000000" pitchFamily="2" charset="0"/>
              </a:rPr>
              <a:t>Move the application code to the serv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100" dirty="0">
                <a:latin typeface="ShellBook" panose="00000500000000000000" pitchFamily="2" charset="0"/>
              </a:rPr>
              <a:t>Connect the application to the Database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100" b="1" dirty="0">
                <a:solidFill>
                  <a:srgbClr val="FF0000"/>
                </a:solidFill>
                <a:latin typeface="ShellBook" panose="00000500000000000000" pitchFamily="2" charset="0"/>
              </a:rPr>
              <a:t>Supply all users' details (Fit4 team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100" b="1" dirty="0">
                <a:solidFill>
                  <a:srgbClr val="FF0000"/>
                </a:solidFill>
                <a:latin typeface="ShellBook" panose="00000500000000000000" pitchFamily="2" charset="0"/>
              </a:rPr>
              <a:t>Supply all SPDC specific data (Fit4 team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100" dirty="0">
                <a:latin typeface="ShellBook" panose="00000500000000000000" pitchFamily="2" charset="0"/>
              </a:rPr>
              <a:t>Migrate all SPDC data supplied to the DIY tool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3B6C4478-A0B8-3B8C-107B-2F2A09B111B9}"/>
              </a:ext>
            </a:extLst>
          </p:cNvPr>
          <p:cNvSpPr txBox="1"/>
          <p:nvPr/>
        </p:nvSpPr>
        <p:spPr>
          <a:xfrm>
            <a:off x="8667011" y="4620327"/>
            <a:ext cx="241552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100" dirty="0">
                <a:latin typeface="ShellBook" panose="00000500000000000000" pitchFamily="2" charset="0"/>
              </a:rPr>
              <a:t>User Acceptance Tes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100" dirty="0">
                <a:latin typeface="ShellBook" panose="00000500000000000000" pitchFamily="2" charset="0"/>
              </a:rPr>
              <a:t>Provide User support during UA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100" dirty="0">
                <a:latin typeface="ShellBook" panose="00000500000000000000" pitchFamily="2" charset="0"/>
              </a:rPr>
              <a:t>Go live date 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100" b="1" dirty="0">
              <a:solidFill>
                <a:srgbClr val="FF0000"/>
              </a:solidFill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DFE94F0C-56C6-20A5-1612-F5A469A32DD9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68791" y="1995652"/>
            <a:ext cx="9394334" cy="152859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lvl="1">
              <a:spcAft>
                <a:spcPts val="700"/>
              </a:spcAft>
            </a:pPr>
            <a:r>
              <a:rPr lang="en-US" sz="1300" b="1" dirty="0">
                <a:solidFill>
                  <a:schemeClr val="accent2"/>
                </a:solidFill>
                <a:latin typeface="ShellBook" panose="00000500000000000000" pitchFamily="50" charset="0"/>
                <a:sym typeface="ShellBook" panose="00000500000000000000" pitchFamily="50" charset="0"/>
              </a:rPr>
              <a:t>A ‘single source of truth’ </a:t>
            </a:r>
            <a:r>
              <a:rPr lang="en-US" sz="1300" dirty="0">
                <a:latin typeface="ShellBook" panose="00000500000000000000" pitchFamily="50" charset="0"/>
                <a:sym typeface="ShellBook" panose="00000500000000000000" pitchFamily="50" charset="0"/>
              </a:rPr>
              <a:t>to provide a single view of all workstreams and initiatives under the workstream</a:t>
            </a:r>
          </a:p>
          <a:p>
            <a:pPr lvl="1">
              <a:spcAft>
                <a:spcPts val="700"/>
              </a:spcAft>
            </a:pPr>
            <a:r>
              <a:rPr lang="en-US" sz="1300" b="1" dirty="0">
                <a:solidFill>
                  <a:schemeClr val="accent2"/>
                </a:solidFill>
                <a:latin typeface="ShellBook" panose="00000500000000000000" pitchFamily="50" charset="0"/>
                <a:sym typeface="ShellBook" panose="00000500000000000000" pitchFamily="50" charset="0"/>
              </a:rPr>
              <a:t>L0-L5 L-Gate maturation </a:t>
            </a:r>
            <a:r>
              <a:rPr lang="en-US" sz="1300" dirty="0">
                <a:latin typeface="ShellBook" panose="00000500000000000000" pitchFamily="50" charset="0"/>
                <a:sym typeface="ShellBook" panose="00000500000000000000" pitchFamily="50" charset="0"/>
              </a:rPr>
              <a:t>from idea to impact realization</a:t>
            </a:r>
          </a:p>
          <a:p>
            <a:pPr lvl="1">
              <a:spcAft>
                <a:spcPts val="700"/>
              </a:spcAft>
            </a:pPr>
            <a:r>
              <a:rPr lang="en-US" sz="1300" b="1" dirty="0">
                <a:solidFill>
                  <a:schemeClr val="accent2"/>
                </a:solidFill>
                <a:latin typeface="ShellBook" panose="00000500000000000000" pitchFamily="50" charset="0"/>
                <a:sym typeface="ShellBook" panose="00000500000000000000" pitchFamily="50" charset="0"/>
              </a:rPr>
              <a:t>L0-L5 phase approval workflow is automated </a:t>
            </a:r>
            <a:r>
              <a:rPr lang="en-US" sz="1300" dirty="0">
                <a:latin typeface="ShellBook" panose="00000500000000000000" pitchFamily="50" charset="0"/>
                <a:sym typeface="ShellBook" panose="00000500000000000000" pitchFamily="50" charset="0"/>
              </a:rPr>
              <a:t>approvers at each L Gate flows across the designated approver for each workstream</a:t>
            </a:r>
          </a:p>
          <a:p>
            <a:pPr lvl="1">
              <a:spcAft>
                <a:spcPts val="700"/>
              </a:spcAft>
              <a:buClr>
                <a:schemeClr val="accent2"/>
              </a:buClr>
              <a:buSzPct val="100000"/>
            </a:pPr>
            <a:r>
              <a:rPr lang="en-US" sz="1300" b="1" dirty="0">
                <a:solidFill>
                  <a:schemeClr val="accent2"/>
                </a:solidFill>
                <a:latin typeface="ShellBook" panose="00000500000000000000" pitchFamily="50" charset="0"/>
                <a:sym typeface="ShellBook" panose="00000500000000000000" pitchFamily="50" charset="0"/>
              </a:rPr>
              <a:t>Reporting </a:t>
            </a:r>
            <a:r>
              <a:rPr lang="en-US" sz="1300" dirty="0">
                <a:latin typeface="ShellBook" panose="00000500000000000000" pitchFamily="50" charset="0"/>
                <a:sym typeface="ShellBook" panose="00000500000000000000" pitchFamily="50" charset="0"/>
              </a:rPr>
              <a:t>real-time status of initiatives are displayed on the dashboard</a:t>
            </a: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B39EBE26-A64F-FE09-948A-D4A856FB5726}"/>
              </a:ext>
            </a:extLst>
          </p:cNvPr>
          <p:cNvGrpSpPr>
            <a:grpSpLocks/>
          </p:cNvGrpSpPr>
          <p:nvPr/>
        </p:nvGrpSpPr>
        <p:grpSpPr>
          <a:xfrm>
            <a:off x="488351" y="1687016"/>
            <a:ext cx="5413809" cy="242114"/>
            <a:chOff x="508000" y="2092351"/>
            <a:chExt cx="5096165" cy="203133"/>
          </a:xfrm>
        </p:grpSpPr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1AB259CD-7EC3-D1F3-5770-C6C292C58B6A}"/>
                </a:ext>
              </a:extLst>
            </p:cNvPr>
            <p:cNvSpPr txBox="1">
              <a:spLocks/>
            </p:cNvSpPr>
            <p:nvPr>
              <p:custDataLst>
                <p:tags r:id="rId5"/>
              </p:custDataLst>
            </p:nvPr>
          </p:nvSpPr>
          <p:spPr>
            <a:xfrm>
              <a:off x="508000" y="2092351"/>
              <a:ext cx="5096165" cy="203133"/>
            </a:xfrm>
            <a:prstGeom prst="rect">
              <a:avLst/>
            </a:prstGeom>
          </p:spPr>
          <p:txBody>
            <a:bodyPr vert="horz" wrap="square" lIns="0" tIns="0" rIns="0" bIns="18288" rtlCol="0" anchor="b" anchorCtr="0">
              <a:no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2024" lvl="1" indent="-192024" defTabSz="12180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600" baseline="0">
                  <a:latin typeface="+mn-lt"/>
                </a:defRPr>
              </a:lvl2pPr>
              <a:lvl3pPr marL="457200" lvl="2" indent="-265176" defTabSz="12180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12180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600" baseline="0">
                  <a:latin typeface="+mn-lt"/>
                </a:defRPr>
              </a:lvl4pPr>
              <a:lvl5pPr marL="749808" lvl="4" indent="-128016" defTabSz="12180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r>
                <a:rPr lang="en-US" sz="1400" b="1" dirty="0">
                  <a:solidFill>
                    <a:schemeClr val="accent2"/>
                  </a:solidFill>
                  <a:latin typeface="ShellBook" panose="00000500000000000000" pitchFamily="50" charset="0"/>
                  <a:sym typeface="ShellBook" panose="00000500000000000000" pitchFamily="50" charset="0"/>
                </a:rPr>
                <a:t>How the DIY tool will work</a:t>
              </a:r>
            </a:p>
          </p:txBody>
        </p: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030A5CCD-87E0-B32A-997E-41B2BBBEAB25}"/>
                </a:ext>
              </a:extLst>
            </p:cNvPr>
            <p:cNvCxnSpPr>
              <a:cxnSpLocks/>
            </p:cNvCxnSpPr>
            <p:nvPr/>
          </p:nvCxnSpPr>
          <p:spPr>
            <a:xfrm>
              <a:off x="508000" y="2295484"/>
              <a:ext cx="5096165" cy="0"/>
            </a:xfrm>
            <a:prstGeom prst="line">
              <a:avLst/>
            </a:prstGeom>
            <a:ln w="9525">
              <a:solidFill>
                <a:schemeClr val="accent2">
                  <a:alpha val="63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21833063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Object 41" hidden="1">
            <a:extLst>
              <a:ext uri="{FF2B5EF4-FFF2-40B4-BE49-F238E27FC236}">
                <a16:creationId xmlns:a16="http://schemas.microsoft.com/office/drawing/2014/main" id="{1F239165-C510-468B-8A1B-BE6F7A8AF6A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58715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70" imgH="371" progId="TCLayout.ActiveDocument.1">
                  <p:embed/>
                </p:oleObj>
              </mc:Choice>
              <mc:Fallback>
                <p:oleObj name="think-cell Slide" r:id="rId6" imgW="370" imgH="371" progId="TCLayout.ActiveDocument.1">
                  <p:embed/>
                  <p:pic>
                    <p:nvPicPr>
                      <p:cNvPr id="42" name="Object 41" hidden="1">
                        <a:extLst>
                          <a:ext uri="{FF2B5EF4-FFF2-40B4-BE49-F238E27FC236}">
                            <a16:creationId xmlns:a16="http://schemas.microsoft.com/office/drawing/2014/main" id="{1F239165-C510-468B-8A1B-BE6F7A8AF6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CF6CAFB-017F-4624-AEBC-E13B0DCBA3F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dirty="0">
              <a:solidFill>
                <a:schemeClr val="tx1"/>
              </a:solidFill>
              <a:latin typeface="ShellBold" panose="00000800000000000000" pitchFamily="50" charset="0"/>
              <a:ea typeface="+mj-ea"/>
              <a:cs typeface="+mj-cs"/>
              <a:sym typeface="ShellBold" panose="00000800000000000000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A036B6-673E-4BD5-84BA-E77E9E29BE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9280" y="705871"/>
            <a:ext cx="9223370" cy="33868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t" anchorCtr="0">
            <a:spAutoFit/>
          </a:bodyPr>
          <a:lstStyle/>
          <a:p>
            <a:r>
              <a:rPr lang="en-GB" dirty="0"/>
              <a:t>Alternative tools being sourced by IDT</a:t>
            </a:r>
            <a:endParaRPr lang="en-US" dirty="0">
              <a:latin typeface="+mj-lt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F7A5A38-8BCF-4D22-A0CA-911EF93D9ADE}"/>
              </a:ext>
            </a:extLst>
          </p:cNvPr>
          <p:cNvGrpSpPr/>
          <p:nvPr/>
        </p:nvGrpSpPr>
        <p:grpSpPr>
          <a:xfrm>
            <a:off x="9984087" y="34186"/>
            <a:ext cx="2207913" cy="365760"/>
            <a:chOff x="9984087" y="34186"/>
            <a:chExt cx="2207913" cy="365760"/>
          </a:xfrm>
        </p:grpSpPr>
        <p:sp>
          <p:nvSpPr>
            <p:cNvPr id="56" name="Action Button: Go Back or Previous 55">
              <a:hlinkClick r:id="" action="ppaction://hlinkshowjump?jump=previousslide" highlightClick="1"/>
              <a:extLst>
                <a:ext uri="{FF2B5EF4-FFF2-40B4-BE49-F238E27FC236}">
                  <a16:creationId xmlns:a16="http://schemas.microsoft.com/office/drawing/2014/main" id="{535CD205-1E7B-4959-997F-13544B348081}"/>
                </a:ext>
              </a:extLst>
            </p:cNvPr>
            <p:cNvSpPr/>
            <p:nvPr/>
          </p:nvSpPr>
          <p:spPr>
            <a:xfrm>
              <a:off x="10441870" y="34186"/>
              <a:ext cx="365760" cy="365760"/>
            </a:xfrm>
            <a:prstGeom prst="actionButtonBackPrevious">
              <a:avLst/>
            </a:prstGeom>
            <a:noFill/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sp>
          <p:nvSpPr>
            <p:cNvPr id="57" name="Action Button: Go Home 56">
              <a:hlinkClick r:id="" action="ppaction://hlinkshowjump?jump=firstslide" highlightClick="1"/>
              <a:extLst>
                <a:ext uri="{FF2B5EF4-FFF2-40B4-BE49-F238E27FC236}">
                  <a16:creationId xmlns:a16="http://schemas.microsoft.com/office/drawing/2014/main" id="{FC9E022E-7AA9-4150-9241-AF3D5B32A418}"/>
                </a:ext>
              </a:extLst>
            </p:cNvPr>
            <p:cNvSpPr/>
            <p:nvPr/>
          </p:nvSpPr>
          <p:spPr>
            <a:xfrm>
              <a:off x="9984087" y="34186"/>
              <a:ext cx="365760" cy="365760"/>
            </a:xfrm>
            <a:prstGeom prst="actionButtonHome">
              <a:avLst/>
            </a:prstGeom>
            <a:noFill/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sp>
          <p:nvSpPr>
            <p:cNvPr id="58" name="Action Button: Go Forward or Next 57">
              <a:hlinkClick r:id="" action="ppaction://hlinkshowjump?jump=nextslide" highlightClick="1"/>
              <a:extLst>
                <a:ext uri="{FF2B5EF4-FFF2-40B4-BE49-F238E27FC236}">
                  <a16:creationId xmlns:a16="http://schemas.microsoft.com/office/drawing/2014/main" id="{3A9E8DF8-228E-4304-863F-B3ACBE41242E}"/>
                </a:ext>
              </a:extLst>
            </p:cNvPr>
            <p:cNvSpPr/>
            <p:nvPr/>
          </p:nvSpPr>
          <p:spPr>
            <a:xfrm>
              <a:off x="10899653" y="34186"/>
              <a:ext cx="365760" cy="365760"/>
            </a:xfrm>
            <a:prstGeom prst="actionButtonForwardNext">
              <a:avLst/>
            </a:prstGeom>
            <a:noFill/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sp>
          <p:nvSpPr>
            <p:cNvPr id="59" name="Action Button: Go to Beginning 58">
              <a:hlinkClick r:id="" action="ppaction://hlinkshowjump?jump=firstslide" highlightClick="1"/>
              <a:extLst>
                <a:ext uri="{FF2B5EF4-FFF2-40B4-BE49-F238E27FC236}">
                  <a16:creationId xmlns:a16="http://schemas.microsoft.com/office/drawing/2014/main" id="{A3608A34-3466-4F00-B84F-DEFAB27BCDE2}"/>
                </a:ext>
              </a:extLst>
            </p:cNvPr>
            <p:cNvSpPr/>
            <p:nvPr/>
          </p:nvSpPr>
          <p:spPr>
            <a:xfrm>
              <a:off x="11371800" y="34186"/>
              <a:ext cx="365760" cy="365760"/>
            </a:xfrm>
            <a:prstGeom prst="actionButtonBeginning">
              <a:avLst/>
            </a:prstGeom>
            <a:noFill/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sp>
          <p:nvSpPr>
            <p:cNvPr id="60" name="Action Button: Go to End 59">
              <a:hlinkClick r:id="" action="ppaction://hlinkshowjump?jump=lastslide" highlightClick="1"/>
              <a:extLst>
                <a:ext uri="{FF2B5EF4-FFF2-40B4-BE49-F238E27FC236}">
                  <a16:creationId xmlns:a16="http://schemas.microsoft.com/office/drawing/2014/main" id="{65302352-E660-4A09-8AAD-383720D216FA}"/>
                </a:ext>
              </a:extLst>
            </p:cNvPr>
            <p:cNvSpPr/>
            <p:nvPr/>
          </p:nvSpPr>
          <p:spPr>
            <a:xfrm>
              <a:off x="11826240" y="34186"/>
              <a:ext cx="365760" cy="365760"/>
            </a:xfrm>
            <a:prstGeom prst="actionButtonEnd">
              <a:avLst/>
            </a:prstGeom>
            <a:noFill/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</p:grpSp>
      <p:sp>
        <p:nvSpPr>
          <p:cNvPr id="35" name="Slide Number Placeholder 4">
            <a:extLst>
              <a:ext uri="{FF2B5EF4-FFF2-40B4-BE49-F238E27FC236}">
                <a16:creationId xmlns:a16="http://schemas.microsoft.com/office/drawing/2014/main" id="{7B558CDB-2E3B-42AB-9F48-5087BB2240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1219170" rtl="0" eaLnBrk="1" latinLnBrk="0" hangingPunct="1">
              <a:defRPr sz="850" kern="120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32BAE6A-B452-4007-8177-56DD051636F9}" type="slidenum">
              <a:rPr lang="en-GB" noProof="1" smtClean="0"/>
              <a:pPr/>
              <a:t>3</a:t>
            </a:fld>
            <a:endParaRPr lang="en-GB" noProof="1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155CE35C-8457-844B-63D5-9F2008BCBECF}"/>
              </a:ext>
            </a:extLst>
          </p:cNvPr>
          <p:cNvSpPr txBox="1"/>
          <p:nvPr/>
        </p:nvSpPr>
        <p:spPr>
          <a:xfrm>
            <a:off x="549280" y="1457325"/>
            <a:ext cx="387888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1. WAVE: A tool used in Shell before Fit4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428169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4147746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24" imgH="526" progId="TCLayout.ActiveDocument.1">
                  <p:embed/>
                </p:oleObj>
              </mc:Choice>
              <mc:Fallback>
                <p:oleObj name="think-cell Slide" r:id="rId3" imgW="524" imgH="5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24024" y="610047"/>
            <a:ext cx="9629775" cy="276999"/>
          </a:xfrm>
        </p:spPr>
        <p:txBody>
          <a:bodyPr vert="horz"/>
          <a:lstStyle/>
          <a:p>
            <a:r>
              <a:rPr lang="en-GB" sz="1800" dirty="0">
                <a:latin typeface="ShellBook" panose="00000500000000000000" pitchFamily="2" charset="0"/>
              </a:rPr>
              <a:t>Business Transformation (BCP) for </a:t>
            </a:r>
            <a:r>
              <a:rPr lang="en-US" sz="1800" dirty="0">
                <a:latin typeface="ShellBook" panose="00000500000000000000" pitchFamily="2" charset="0"/>
              </a:rPr>
              <a:t>Program Management Business Delivery and </a:t>
            </a:r>
            <a:r>
              <a:rPr lang="en-US" sz="1800" dirty="0" err="1">
                <a:latin typeface="ShellBook" panose="00000500000000000000" pitchFamily="2" charset="0"/>
              </a:rPr>
              <a:t>Opex</a:t>
            </a:r>
            <a:r>
              <a:rPr lang="en-US" sz="1800" dirty="0">
                <a:latin typeface="ShellBook" panose="00000500000000000000" pitchFamily="2" charset="0"/>
              </a:rPr>
              <a:t> Optimization</a:t>
            </a:r>
            <a:endParaRPr lang="en-GB" sz="1800" dirty="0">
              <a:latin typeface="ShellBook" panose="00000500000000000000" pitchFamily="2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87E1ADB-11EE-B20B-AED0-887CB94DFBB3}"/>
              </a:ext>
            </a:extLst>
          </p:cNvPr>
          <p:cNvSpPr txBox="1"/>
          <p:nvPr/>
        </p:nvSpPr>
        <p:spPr>
          <a:xfrm>
            <a:off x="657225" y="1020396"/>
            <a:ext cx="10877550" cy="35394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effectLst/>
                <a:latin typeface="ShellBook" panose="00000500000000000000" pitchFamily="2" charset="0"/>
                <a:ea typeface="Times New Roman" panose="02020603050405020304" pitchFamily="18" charset="0"/>
              </a:rPr>
              <a:t>Temporary </a:t>
            </a:r>
            <a:r>
              <a:rPr lang="en-US" dirty="0">
                <a:solidFill>
                  <a:srgbClr val="000000"/>
                </a:solidFill>
                <a:latin typeface="ShellBook" panose="00000500000000000000" pitchFamily="2" charset="0"/>
                <a:ea typeface="Times New Roman" panose="02020603050405020304" pitchFamily="18" charset="0"/>
              </a:rPr>
              <a:t>w</a:t>
            </a:r>
            <a:r>
              <a:rPr lang="en-US" dirty="0">
                <a:solidFill>
                  <a:srgbClr val="000000"/>
                </a:solidFill>
                <a:effectLst/>
                <a:latin typeface="ShellBook" panose="00000500000000000000" pitchFamily="2" charset="0"/>
                <a:ea typeface="Times New Roman" panose="02020603050405020304" pitchFamily="18" charset="0"/>
              </a:rPr>
              <a:t>orkaround for business continuity in the event of unavailability of IT applications:</a:t>
            </a:r>
            <a:endParaRPr lang="en-US" dirty="0">
              <a:solidFill>
                <a:srgbClr val="000000"/>
              </a:solidFill>
              <a:effectLst/>
              <a:latin typeface="ShellBook" panose="00000500000000000000" pitchFamily="2" charset="0"/>
              <a:ea typeface="Calibri" panose="020F0502020204030204" pitchFamily="34" charset="0"/>
            </a:endParaRPr>
          </a:p>
          <a:p>
            <a:r>
              <a:rPr lang="en-US" dirty="0">
                <a:solidFill>
                  <a:srgbClr val="000000"/>
                </a:solidFill>
                <a:effectLst/>
                <a:latin typeface="ShellBook" panose="00000500000000000000" pitchFamily="2" charset="0"/>
                <a:ea typeface="Times New Roman" panose="02020603050405020304" pitchFamily="18" charset="0"/>
              </a:rPr>
              <a:t> </a:t>
            </a:r>
            <a:endParaRPr lang="en-US" dirty="0">
              <a:solidFill>
                <a:srgbClr val="000000"/>
              </a:solidFill>
              <a:effectLst/>
              <a:latin typeface="ShellBook" panose="00000500000000000000" pitchFamily="2" charset="0"/>
              <a:ea typeface="Calibri" panose="020F0502020204030204" pitchFamily="34" charset="0"/>
            </a:endParaRPr>
          </a:p>
          <a:p>
            <a:r>
              <a:rPr lang="en-US" b="1" dirty="0">
                <a:solidFill>
                  <a:srgbClr val="000000"/>
                </a:solidFill>
                <a:effectLst/>
                <a:latin typeface="ShellBook" panose="00000500000000000000" pitchFamily="2" charset="0"/>
                <a:ea typeface="Times New Roman" panose="02020603050405020304" pitchFamily="18" charset="0"/>
              </a:rPr>
              <a:t>Manual Operations:</a:t>
            </a:r>
            <a:r>
              <a:rPr lang="en-US" dirty="0">
                <a:solidFill>
                  <a:srgbClr val="000000"/>
                </a:solidFill>
                <a:effectLst/>
                <a:latin typeface="ShellBook" panose="00000500000000000000" pitchFamily="2" charset="0"/>
                <a:ea typeface="Times New Roman" panose="02020603050405020304" pitchFamily="18" charset="0"/>
              </a:rPr>
              <a:t> If IT systems are down, revert to paper-based or offline workflows where possible.</a:t>
            </a:r>
          </a:p>
          <a:p>
            <a:pPr marL="752231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ShellBook" panose="00000500000000000000" pitchFamily="2" charset="0"/>
                <a:ea typeface="Times New Roman" panose="02020603050405020304" pitchFamily="18" charset="0"/>
              </a:rPr>
              <a:t>Develop Project Charter for each Initiative.</a:t>
            </a:r>
          </a:p>
          <a:p>
            <a:pPr marL="752231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ShellBook" panose="00000500000000000000" pitchFamily="2" charset="0"/>
                <a:ea typeface="Times New Roman" panose="02020603050405020304" pitchFamily="18" charset="0"/>
              </a:rPr>
              <a:t>Print out project charters which contains </a:t>
            </a:r>
            <a:r>
              <a:rPr lang="en-US" sz="1600" dirty="0">
                <a:solidFill>
                  <a:srgbClr val="000000"/>
                </a:solidFill>
                <a:latin typeface="ShellBook" panose="00000500000000000000" pitchFamily="50" charset="0"/>
                <a:sym typeface="ShellBook" panose="00000500000000000000" pitchFamily="50" charset="0"/>
              </a:rPr>
              <a:t>clear actions (milestones), roles and responsibilities</a:t>
            </a:r>
            <a:r>
              <a:rPr lang="en-US" dirty="0">
                <a:solidFill>
                  <a:srgbClr val="000000"/>
                </a:solidFill>
                <a:latin typeface="ShellBook" panose="00000500000000000000" pitchFamily="2" charset="0"/>
                <a:ea typeface="Times New Roman" panose="02020603050405020304" pitchFamily="18" charset="0"/>
              </a:rPr>
              <a:t> and store manually in a hard copy folder.</a:t>
            </a:r>
          </a:p>
          <a:p>
            <a:pPr marL="752231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  <a:latin typeface="ShellBook" panose="00000500000000000000" pitchFamily="50" charset="0"/>
                <a:sym typeface="ShellBook" panose="00000500000000000000" pitchFamily="50" charset="0"/>
              </a:rPr>
              <a:t>Track progress and forecast future delivery (On desktop, excel, power point or manually on paper).</a:t>
            </a:r>
          </a:p>
          <a:p>
            <a:pPr marL="752231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ShellBook" panose="00000500000000000000" pitchFamily="50" charset="0"/>
                <a:sym typeface="ShellBook" panose="00000500000000000000" pitchFamily="50" charset="0"/>
              </a:rPr>
              <a:t>When the system is available, Business Transformation will notify functions using standard network communication channels</a:t>
            </a:r>
            <a:endParaRPr lang="en-US" sz="1600" dirty="0">
              <a:solidFill>
                <a:srgbClr val="000000"/>
              </a:solidFill>
              <a:latin typeface="ShellBook" panose="00000500000000000000" pitchFamily="50" charset="0"/>
              <a:sym typeface="ShellBook" panose="00000500000000000000" pitchFamily="50" charset="0"/>
            </a:endParaRPr>
          </a:p>
          <a:p>
            <a:pPr marL="752231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  <a:latin typeface="ShellBook" panose="00000500000000000000" pitchFamily="50" charset="0"/>
                <a:sym typeface="ShellBook" panose="00000500000000000000" pitchFamily="50" charset="0"/>
              </a:rPr>
              <a:t>Initiative owners make the entries into the tool.</a:t>
            </a:r>
          </a:p>
          <a:p>
            <a:endParaRPr lang="en-US" dirty="0">
              <a:solidFill>
                <a:srgbClr val="000000"/>
              </a:solidFill>
              <a:effectLst/>
              <a:latin typeface="ShellBook" panose="00000500000000000000" pitchFamily="2" charset="0"/>
              <a:ea typeface="Calibri" panose="020F0502020204030204" pitchFamily="34" charset="0"/>
            </a:endParaRPr>
          </a:p>
          <a:p>
            <a:r>
              <a:rPr lang="en-US" b="1" dirty="0">
                <a:solidFill>
                  <a:srgbClr val="000000"/>
                </a:solidFill>
                <a:effectLst/>
                <a:latin typeface="ShellBook" panose="00000500000000000000" pitchFamily="2" charset="0"/>
                <a:ea typeface="Times New Roman" panose="02020603050405020304" pitchFamily="18" charset="0"/>
              </a:rPr>
              <a:t>Alternative Communication Channels:</a:t>
            </a:r>
            <a:r>
              <a:rPr lang="en-US" dirty="0">
                <a:solidFill>
                  <a:srgbClr val="000000"/>
                </a:solidFill>
                <a:effectLst/>
                <a:latin typeface="ShellBook" panose="00000500000000000000" pitchFamily="2" charset="0"/>
                <a:ea typeface="Times New Roman" panose="02020603050405020304" pitchFamily="18" charset="0"/>
              </a:rPr>
              <a:t> If internal email and messaging are down:</a:t>
            </a:r>
            <a:endParaRPr lang="en-US" dirty="0">
              <a:solidFill>
                <a:srgbClr val="000000"/>
              </a:solidFill>
              <a:effectLst/>
              <a:latin typeface="ShellBook" panose="00000500000000000000" pitchFamily="2" charset="0"/>
              <a:ea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effectLst/>
                <a:latin typeface="ShellBook" panose="00000500000000000000" pitchFamily="2" charset="0"/>
                <a:ea typeface="Times New Roman" panose="02020603050405020304" pitchFamily="18" charset="0"/>
              </a:rPr>
              <a:t>Use mobile networks (SMS, phone calls).</a:t>
            </a:r>
            <a:endParaRPr lang="en-US" dirty="0">
              <a:solidFill>
                <a:srgbClr val="000000"/>
              </a:solidFill>
              <a:effectLst/>
              <a:latin typeface="ShellBook" panose="00000500000000000000" pitchFamily="2" charset="0"/>
              <a:ea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effectLst/>
                <a:latin typeface="ShellBook" panose="00000500000000000000" pitchFamily="2" charset="0"/>
                <a:ea typeface="Times New Roman" panose="02020603050405020304" pitchFamily="18" charset="0"/>
              </a:rPr>
              <a:t>Use WhatsApp group channel for nonbusiness communication, only to notify the team of the breach.</a:t>
            </a:r>
            <a:endParaRPr lang="en-US" dirty="0">
              <a:solidFill>
                <a:srgbClr val="000000"/>
              </a:solidFill>
              <a:effectLst/>
              <a:latin typeface="ShellBook" panose="00000500000000000000" pitchFamily="2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64202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97028591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ACCENT" val="4"/>
  <p:tag name="LINE" val="2"/>
  <p:tag name="MTBTACCENT" val="Text2"/>
  <p:tag name="ISNEWSLIDENUMBER" val="False"/>
  <p:tag name="PREVIOUSNAME" val="C:\Users\Dara Olufon\Box Sync\Nigeria - FFtF 2017\3. Presentations\Finance leads meeting\20170221 Finance leads meeting v3.pptx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B2Yv6vcSI2fxXSAeGoQ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P_MARVIN_VG_TB_SLIDE_IDENTIFIER" val="db6c6055e3238d9a1fa8eed6348eea9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U5bXIOn5akQqGJtl4ut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679596450961938"/>
  <p:tag name="LEFT" val="50"/>
  <p:tag name="TOP" val="118.4006"/>
  <p:tag name="HEIGHT" val="183.527"/>
  <p:tag name="WIDTH" val="269.314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679596450961938"/>
  <p:tag name="LEFT" val="50"/>
  <p:tag name="TOP" val="321.9276"/>
  <p:tag name="HEIGHT" val="183.527"/>
  <p:tag name="WIDTH" val="269.3143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679596450961938"/>
  <p:tag name="LEFT" val="339.3143"/>
  <p:tag name="TOP" val="118.4006"/>
  <p:tag name="HEIGHT" val="183.527"/>
  <p:tag name="WIDTH" val="269.3143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679596450961938"/>
  <p:tag name="LEFT" val="339.3143"/>
  <p:tag name="TOP" val="321.9276"/>
  <p:tag name="HEIGHT" val="183.527"/>
  <p:tag name="WIDTH" val="269.314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74678968160729"/>
  <p:tag name="LEFT" val="9.375039"/>
  <p:tag name="TOP" val="80"/>
  <p:tag name="HEIGHT" val="82.5"/>
  <p:tag name="WIDTH" val="933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74678968160729"/>
  <p:tag name="LEFT" val="9.375039"/>
  <p:tag name="TOP" val="80"/>
  <p:tag name="HEIGHT" val="82.5"/>
  <p:tag name="WIDTH" val="933"/>
  <p:tag name="1LEVEL" val="10"/>
  <p:tag name="2LEVEL" val="5"/>
  <p:tag name="3LEVEL" val="2.5"/>
  <p:tag name="4LEVEL" val="1.25"/>
  <p:tag name="5LEVEL" val="0.6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74678968160729"/>
  <p:tag name="LEFT" val="9.375039"/>
  <p:tag name="TOP" val="80"/>
  <p:tag name="HEIGHT" val="82.5"/>
  <p:tag name="WIDTH" val="933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74678968160729"/>
  <p:tag name="LEFT" val="9.375039"/>
  <p:tag name="TOP" val="80"/>
  <p:tag name="HEIGHT" val="82.5"/>
  <p:tag name="WIDTH" val="933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P_MARVIN_VG_TB_SLIDE_IDENTIFIER" val="db6c6055e3238d9a1fa8eed6348eea9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U5bXIOn5akQqGJtl4ut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74678968160729"/>
  <p:tag name="LEFT" val="9.375039"/>
  <p:tag name="TOP" val="80"/>
  <p:tag name="HEIGHT" val="82.5"/>
  <p:tag name="WIDTH" val="933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74678968160729"/>
  <p:tag name="LEFT" val="9.375039"/>
  <p:tag name="TOP" val="80"/>
  <p:tag name="HEIGHT" val="82.5"/>
  <p:tag name="WIDTH" val="933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P_MARVIN_VG_TB_SLIDE_IDENTIFIER" val="db6c6055e3238d9a1fa8eed6348eea9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U5bXIOn5akQqGJtl4ut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heme/theme1.xml><?xml version="1.0" encoding="utf-8"?>
<a:theme xmlns:a="http://schemas.openxmlformats.org/drawingml/2006/main" name="Shell_CF_RDS598">
  <a:themeElements>
    <a:clrScheme name="Current">
      <a:dk1>
        <a:srgbClr val="595959"/>
      </a:dk1>
      <a:lt1>
        <a:srgbClr val="FFFFFF"/>
      </a:lt1>
      <a:dk2>
        <a:srgbClr val="DD1D21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808080"/>
      </a:accent6>
      <a:hlink>
        <a:srgbClr val="003C88"/>
      </a:hlink>
      <a:folHlink>
        <a:srgbClr val="641964"/>
      </a:folHlink>
    </a:clrScheme>
    <a:fontScheme name="Custom 40">
      <a:majorFont>
        <a:latin typeface="Futura Bold"/>
        <a:ea typeface="ＭＳ Ｐゴシック"/>
        <a:cs typeface=""/>
      </a:majorFont>
      <a:minorFont>
        <a:latin typeface="Futura Medium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595959"/>
        </a:dk1>
        <a:lt1>
          <a:srgbClr val="FFFFFF"/>
        </a:lt1>
        <a:dk2>
          <a:srgbClr val="DD1D21"/>
        </a:dk2>
        <a:lt2>
          <a:srgbClr val="D9D9D9"/>
        </a:lt2>
        <a:accent1>
          <a:srgbClr val="FBCE07"/>
        </a:accent1>
        <a:accent2>
          <a:srgbClr val="DD1D21"/>
        </a:accent2>
        <a:accent3>
          <a:srgbClr val="003C88"/>
        </a:accent3>
        <a:accent4>
          <a:srgbClr val="641964"/>
        </a:accent4>
        <a:accent5>
          <a:srgbClr val="008443"/>
        </a:accent5>
        <a:accent6>
          <a:srgbClr val="808080"/>
        </a:accent6>
        <a:hlink>
          <a:srgbClr val="003C88"/>
        </a:hlink>
        <a:folHlink>
          <a:srgbClr val="64196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hell_CF_RDS598.potx" id="{BBEC8305-3715-4CE6-8699-B28A10179CF1}" vid="{7341CF39-6A8E-487C-9B02-3592AEE52BE5}"/>
    </a:ext>
  </a:extLst>
</a:theme>
</file>

<file path=ppt/theme/theme2.xml><?xml version="1.0" encoding="utf-8"?>
<a:theme xmlns:a="http://schemas.openxmlformats.org/drawingml/2006/main" name="4_Shell_CF_RDS598">
  <a:themeElements>
    <a:clrScheme name="Current">
      <a:dk1>
        <a:srgbClr val="595959"/>
      </a:dk1>
      <a:lt1>
        <a:srgbClr val="FFFFFF"/>
      </a:lt1>
      <a:dk2>
        <a:srgbClr val="DD1D21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808080"/>
      </a:accent6>
      <a:hlink>
        <a:srgbClr val="003C88"/>
      </a:hlink>
      <a:folHlink>
        <a:srgbClr val="641964"/>
      </a:folHlink>
    </a:clrScheme>
    <a:fontScheme name="Custom 40">
      <a:majorFont>
        <a:latin typeface="Futura Bold"/>
        <a:ea typeface="ＭＳ Ｐゴシック"/>
        <a:cs typeface=""/>
      </a:majorFont>
      <a:minorFont>
        <a:latin typeface="Futura Medium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595959"/>
        </a:dk1>
        <a:lt1>
          <a:srgbClr val="FFFFFF"/>
        </a:lt1>
        <a:dk2>
          <a:srgbClr val="DD1D21"/>
        </a:dk2>
        <a:lt2>
          <a:srgbClr val="D9D9D9"/>
        </a:lt2>
        <a:accent1>
          <a:srgbClr val="FBCE07"/>
        </a:accent1>
        <a:accent2>
          <a:srgbClr val="DD1D21"/>
        </a:accent2>
        <a:accent3>
          <a:srgbClr val="003C88"/>
        </a:accent3>
        <a:accent4>
          <a:srgbClr val="641964"/>
        </a:accent4>
        <a:accent5>
          <a:srgbClr val="008443"/>
        </a:accent5>
        <a:accent6>
          <a:srgbClr val="808080"/>
        </a:accent6>
        <a:hlink>
          <a:srgbClr val="003C88"/>
        </a:hlink>
        <a:folHlink>
          <a:srgbClr val="64196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hell_CF_RDS598.potx" id="{BBEC8305-3715-4CE6-8699-B28A10179CF1}" vid="{7341CF39-6A8E-487C-9B02-3592AEE52BE5}"/>
    </a:ext>
  </a:extLst>
</a:theme>
</file>

<file path=ppt/theme/theme3.xml><?xml version="1.0" encoding="utf-8"?>
<a:theme xmlns:a="http://schemas.openxmlformats.org/drawingml/2006/main" name="Shell layouts with footer">
  <a:themeElements>
    <a:clrScheme name="Shell Colour Palette">
      <a:dk1>
        <a:srgbClr val="595959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Shell Theme Fonts">
      <a:majorFont>
        <a:latin typeface="Futura Bold"/>
        <a:ea typeface=""/>
        <a:cs typeface=""/>
      </a:majorFont>
      <a:minorFont>
        <a:latin typeface="Futura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 algn="ctr">
          <a:noFill/>
          <a:miter lim="800000"/>
          <a:headEnd/>
          <a:tailEnd/>
        </a:ln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>
          <a:defRPr smtClean="0"/>
        </a:defPPr>
      </a:lstStyle>
    </a:txDef>
  </a:objectDefaults>
  <a:extraClrSchemeLst/>
  <a:custClrLst>
    <a:custClr name="Shell-yellow">
      <a:srgbClr val="FBCE07"/>
    </a:custClr>
    <a:custClr name="Shell-yellow-60%">
      <a:srgbClr val="FDE26A"/>
    </a:custClr>
    <a:custClr name="Shell-yellow-40%">
      <a:srgbClr val="FDEB9C"/>
    </a:custClr>
    <a:custClr name="Shell-yellow-20%">
      <a:srgbClr val="FEF5CD"/>
    </a:custClr>
    <a:custClr name="Shell-yellow-20%">
      <a:srgbClr val="FEF5CD"/>
    </a:custClr>
    <a:custClr name="Shell-red">
      <a:srgbClr val="DD1D21"/>
    </a:custClr>
    <a:custClr name="Shell-red-60%">
      <a:srgbClr val="EB777A"/>
    </a:custClr>
    <a:custClr name="Shell-red-40%">
      <a:srgbClr val="F1A5A6"/>
    </a:custClr>
    <a:custClr name="Shell-red-20%">
      <a:srgbClr val="F8D2D3"/>
    </a:custClr>
    <a:custClr name="Shell-white">
      <a:srgbClr val="FFFFFF"/>
    </a:custClr>
    <a:custClr name="Shell-black">
      <a:srgbClr val="000000"/>
    </a:custClr>
    <a:custClr name="Shell-very dark grey">
      <a:srgbClr val="404040"/>
    </a:custClr>
    <a:custClr name="Shell-dark grey">
      <a:srgbClr val="595959"/>
    </a:custClr>
    <a:custClr name="Shell-mid grey">
      <a:srgbClr val="7F7F7F"/>
    </a:custClr>
    <a:custClr name="Shell-light grey">
      <a:srgbClr val="A6A6A6"/>
    </a:custClr>
    <a:custClr name="Shell-pale grey">
      <a:srgbClr val="D9D9D9"/>
    </a:custClr>
    <a:custClr name="Shell-very pale grey">
      <a:srgbClr val="F7F7F7"/>
    </a:custClr>
    <a:custClr name="Shell-dark blue">
      <a:srgbClr val="003C88"/>
    </a:custClr>
    <a:custClr name="Shell-dark blue-60%">
      <a:srgbClr val="668AB8"/>
    </a:custClr>
    <a:custClr name="Shell-dark blue-40%">
      <a:srgbClr val="99B1CF"/>
    </a:custClr>
    <a:custClr name="Shell-dark blue-20%">
      <a:srgbClr val="CCD8E7"/>
    </a:custClr>
    <a:custClr name="Shell-mid blue">
      <a:srgbClr val="009EB4"/>
    </a:custClr>
    <a:custClr name="Shell-mid blue-60%">
      <a:srgbClr val="66C5D2"/>
    </a:custClr>
    <a:custClr name="Shell-mid blue-40%">
      <a:srgbClr val="99D8E1"/>
    </a:custClr>
    <a:custClr name="Shell-mid blue-20%">
      <a:srgbClr val="CCECF0"/>
    </a:custClr>
    <a:custClr name="Shell-light blue">
      <a:srgbClr val="89CFDC"/>
    </a:custClr>
    <a:custClr name="Shell-light blue-60%">
      <a:srgbClr val="B8E2EA"/>
    </a:custClr>
    <a:custClr name="Shell-light blue-40%">
      <a:srgbClr val="D0ECF1"/>
    </a:custClr>
    <a:custClr name="Shell-light blue-20%">
      <a:srgbClr val="E7F5F8"/>
    </a:custClr>
    <a:custClr name="Shell-light green">
      <a:srgbClr val="BED50F"/>
    </a:custClr>
    <a:custClr name="Shell-light green-60%">
      <a:srgbClr val="D8E66F"/>
    </a:custClr>
    <a:custClr name="Shell-light green-40%">
      <a:srgbClr val="E5EE9F"/>
    </a:custClr>
    <a:custClr name="Shell-light green-20%">
      <a:srgbClr val="F2F7CF"/>
    </a:custClr>
    <a:custClr name="Shell-dark green">
      <a:srgbClr val="008443"/>
    </a:custClr>
    <a:custClr name="Shell-dark green-60%">
      <a:srgbClr val="66B58E"/>
    </a:custClr>
    <a:custClr name="Shell-dark green-40%">
      <a:srgbClr val="99CEB4"/>
    </a:custClr>
    <a:custClr name="Shell-dark green-20%">
      <a:srgbClr val="CCE6D9"/>
    </a:custClr>
    <a:custClr name="Shell-purple">
      <a:srgbClr val="641964"/>
    </a:custClr>
    <a:custClr name="Shell-purple-60%">
      <a:srgbClr val="A275A2"/>
    </a:custClr>
    <a:custClr name="Shell-purple-40%">
      <a:srgbClr val="C1A3C1"/>
    </a:custClr>
    <a:custClr name="Shell-purple-20%">
      <a:srgbClr val="E0D1E0"/>
    </a:custClr>
    <a:custClr name="Shell-lilac">
      <a:srgbClr val="BA95BE"/>
    </a:custClr>
    <a:custClr name="Shell-lilac-60%">
      <a:srgbClr val="D6BFD8"/>
    </a:custClr>
    <a:custClr name="Shell-lilac-40%">
      <a:srgbClr val="E3D5E5"/>
    </a:custClr>
    <a:custClr name="Shell-orange">
      <a:srgbClr val="EB8705"/>
    </a:custClr>
    <a:custClr name="Shell-orange-60%">
      <a:srgbClr val="F3B769"/>
    </a:custClr>
    <a:custClr name="Shell-orange-40%">
      <a:srgbClr val="F7CF9B"/>
    </a:custClr>
    <a:custClr name="Shell-brown">
      <a:srgbClr val="743410"/>
    </a:custClr>
    <a:custClr name="Shell-brown-60%">
      <a:srgbClr val="AC8570"/>
    </a:custClr>
    <a:custClr name="Shell-brown-40%">
      <a:srgbClr val="C7AE9F"/>
    </a:custClr>
    <a:custClr name="Shell-sand">
      <a:srgbClr val="FFEAC2"/>
    </a:custClr>
  </a:custClrLst>
  <a:extLst>
    <a:ext uri="{05A4C25C-085E-4340-85A3-A5531E510DB2}">
      <thm15:themeFamily xmlns:thm15="http://schemas.microsoft.com/office/thememl/2012/main" name="Shell WizKit V3_Template_Widescreen_07june2016 (003).potx [Read-Only]" id="{D24AAAEA-7A7E-4FC6-83E6-F1C501357D48}" vid="{287AE11D-B282-4C23-A4C8-B4A94E202CCF}"/>
    </a:ext>
  </a:ext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d86265bb-4d93-4199-82aa-631a58dc3f71">
      <Value>1</Value>
    </TaxCatchAll>
    <SAEFSecurityClassification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Restricted</TermName>
          <TermId xmlns="http://schemas.microsoft.com/office/infopath/2007/PartnerControls">21aa7f98-4035-4019-a764-107acb7269af</TermId>
        </TermInfo>
      </Terms>
    </SAEFSecurityClassificationTaxHTField0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Shell Document" ma:contentTypeID="0x0101006F0A470EEB1140E7AA14F4CE8A50B54C0001CB1477F4DD432AA86DD56CC3887AF400B27EAFD3202E4E4786EE1B1ED3DF7BAE" ma:contentTypeVersion="5" ma:contentTypeDescription="Shell Document Content Type" ma:contentTypeScope="" ma:versionID="fda1358a668a8aedc98d3f6da629ad42">
  <xsd:schema xmlns:xsd="http://www.w3.org/2001/XMLSchema" xmlns:xs="http://www.w3.org/2001/XMLSchema" xmlns:p="http://schemas.microsoft.com/office/2006/metadata/properties" xmlns:ns1="http://schemas.microsoft.com/sharepoint/v3" xmlns:ns2="d86265bb-4d93-4199-82aa-631a58dc3f71" xmlns:ns3="17422080-d93b-4ad2-85af-39ba51308ce7" targetNamespace="http://schemas.microsoft.com/office/2006/metadata/properties" ma:root="true" ma:fieldsID="afc17c5ea193e34128e8a135336eae2d" ns1:_="" ns2:_="" ns3:_="">
    <xsd:import namespace="http://schemas.microsoft.com/sharepoint/v3"/>
    <xsd:import namespace="d86265bb-4d93-4199-82aa-631a58dc3f71"/>
    <xsd:import namespace="17422080-d93b-4ad2-85af-39ba51308ce7"/>
    <xsd:element name="properties">
      <xsd:complexType>
        <xsd:sequence>
          <xsd:element name="documentManagement">
            <xsd:complexType>
              <xsd:all>
                <xsd:element ref="ns1:SAEFSecurityClassificationTaxHTField0" minOccurs="0"/>
                <xsd:element ref="ns2:TaxCatchAll" minOccurs="0"/>
                <xsd:element ref="ns2:TaxCatchAllLabel" minOccurs="0"/>
                <xsd:element ref="ns3:MediaServiceObjectDetectorVersions" minOccurs="0"/>
                <xsd:element ref="ns3:MediaServiceSearchProperties" minOccurs="0"/>
                <xsd:element ref="ns2:SharedWithUsers" minOccurs="0"/>
                <xsd:element ref="ns2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SAEFSecurityClassificationTaxHTField0" ma:index="8" ma:taxonomy="true" ma:internalName="SAEFSecurityClassificationTaxHTField0" ma:taxonomyFieldName="SAEFSecurityClassification" ma:displayName="Security Classification" ma:readOnly="false" ma:default="1;#Restricted|21aa7f98-4035-4019-a764-107acb7269af" ma:fieldId="{2ce2f798-4e95-48f9-a317-73f854109466}" ma:sspId="e3aebf70-341c-4d91-bdd3-aba9df361687" ma:termSetId="daf890f0-167e-4ee2-a9fd-a81536ed8167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86265bb-4d93-4199-82aa-631a58dc3f71" elementFormDefault="qualified">
    <xsd:import namespace="http://schemas.microsoft.com/office/2006/documentManagement/types"/>
    <xsd:import namespace="http://schemas.microsoft.com/office/infopath/2007/PartnerControls"/>
    <xsd:element name="TaxCatchAll" ma:index="9" nillable="true" ma:displayName="Taxonomy Catch All Column" ma:hidden="true" ma:list="{03db977e-3b0f-451b-912f-9ad802337745}" ma:internalName="TaxCatchAll" ma:showField="CatchAllData" ma:web="d86265bb-4d93-4199-82aa-631a58dc3f7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03db977e-3b0f-451b-912f-9ad802337745}" ma:internalName="TaxCatchAllLabel" ma:readOnly="true" ma:showField="CatchAllDataLabel" ma:web="d86265bb-4d93-4199-82aa-631a58dc3f7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7422080-d93b-4ad2-85af-39ba51308ce7" elementFormDefault="qualified">
    <xsd:import namespace="http://schemas.microsoft.com/office/2006/documentManagement/types"/>
    <xsd:import namespace="http://schemas.microsoft.com/office/infopath/2007/PartnerControls"/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447D45B-7136-4C27-B83D-5EA91E4DA2D2}">
  <ds:schemaRefs>
    <ds:schemaRef ds:uri="http://schemas.microsoft.com/sharepoint/v3"/>
    <ds:schemaRef ds:uri="http://www.w3.org/XML/1998/namespace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purl.org/dc/terms/"/>
    <ds:schemaRef ds:uri="http://purl.org/dc/dcmitype/"/>
    <ds:schemaRef ds:uri="http://schemas.openxmlformats.org/package/2006/metadata/core-properties"/>
    <ds:schemaRef ds:uri="17422080-d93b-4ad2-85af-39ba51308ce7"/>
    <ds:schemaRef ds:uri="d86265bb-4d93-4199-82aa-631a58dc3f71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51462551-57AA-4CCA-BDD6-C21CBD1C690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AF884B4-928D-40BE-99C8-FC796C25771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d86265bb-4d93-4199-82aa-631a58dc3f71"/>
    <ds:schemaRef ds:uri="17422080-d93b-4ad2-85af-39ba51308ce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Shell_CF_RDS598</Template>
  <TotalTime>243</TotalTime>
  <Words>530</Words>
  <Application>Microsoft Office PowerPoint</Application>
  <PresentationFormat>Widescreen</PresentationFormat>
  <Paragraphs>67</Paragraphs>
  <Slides>6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7" baseType="lpstr">
      <vt:lpstr>Arial</vt:lpstr>
      <vt:lpstr>Calibri</vt:lpstr>
      <vt:lpstr>Futura Bold</vt:lpstr>
      <vt:lpstr>Futura Medium</vt:lpstr>
      <vt:lpstr>ShellBold</vt:lpstr>
      <vt:lpstr>ShellBook</vt:lpstr>
      <vt:lpstr>Wingdings</vt:lpstr>
      <vt:lpstr>Shell_CF_RDS598</vt:lpstr>
      <vt:lpstr>4_Shell_CF_RDS598</vt:lpstr>
      <vt:lpstr>Shell layouts with footer</vt:lpstr>
      <vt:lpstr>think-cell Slide</vt:lpstr>
      <vt:lpstr>Business Delivery and Opex Optimization</vt:lpstr>
      <vt:lpstr>Fit4 – In Shell environment (Not Available to Renaissance)</vt:lpstr>
      <vt:lpstr>DIY Alternative for Business Continuity</vt:lpstr>
      <vt:lpstr>Alternative tools being sourced by IDT</vt:lpstr>
      <vt:lpstr>Business Transformation (BCP) for Program Management Business Delivery and Opex Optimization</vt:lpstr>
      <vt:lpstr>PowerPoint Presentation</vt:lpstr>
    </vt:vector>
  </TitlesOfParts>
  <Company>Mc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Balameenakshi S</dc:creator>
  <cp:lastModifiedBy>Bejide, Isaac SPDC-IUC/G/WP</cp:lastModifiedBy>
  <cp:revision>30</cp:revision>
  <cp:lastPrinted>2008-09-19T11:06:26Z</cp:lastPrinted>
  <dcterms:created xsi:type="dcterms:W3CDTF">2017-02-21T00:42:49Z</dcterms:created>
  <dcterms:modified xsi:type="dcterms:W3CDTF">2025-01-31T14:25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Office2010WasSaved">
    <vt:lpwstr>1</vt:lpwstr>
  </property>
  <property fmtid="{D5CDD505-2E9C-101B-9397-08002B2CF9AE}" pid="10" name="DocID">
    <vt:lpwstr>DOC ID</vt:lpwstr>
  </property>
  <property fmtid="{D5CDD505-2E9C-101B-9397-08002B2CF9AE}" pid="11" name="VGCompatibilityCheck Run By">
    <vt:lpwstr>Chandrasekar N</vt:lpwstr>
  </property>
  <property fmtid="{D5CDD505-2E9C-101B-9397-08002B2CF9AE}" pid="12" name="VGCompatibilityCheck Run On ">
    <vt:lpwstr>7/28/2016 11:54:17 PM</vt:lpwstr>
  </property>
  <property fmtid="{D5CDD505-2E9C-101B-9397-08002B2CF9AE}" pid="13" name="ContentTypeId">
    <vt:lpwstr>0x0101006F0A470EEB1140E7AA14F4CE8A50B54C0001CB1477F4DD432AA86DD56CC3887AF400B27EAFD3202E4E4786EE1B1ED3DF7BAE</vt:lpwstr>
  </property>
  <property fmtid="{D5CDD505-2E9C-101B-9397-08002B2CF9AE}" pid="14" name="VGCompatibilityCheck Run On">
    <vt:lpwstr>7/28/2016 11:54:17 PM</vt:lpwstr>
  </property>
  <property fmtid="{D5CDD505-2E9C-101B-9397-08002B2CF9AE}" pid="15" name="SAEFSecurityClassification">
    <vt:lpwstr>1;#Restricted|21aa7f98-4035-4019-a764-107acb7269af</vt:lpwstr>
  </property>
</Properties>
</file>